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7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theme/theme8.xml" ContentType="application/vnd.openxmlformats-officedocument.theme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10.xml" ContentType="application/vnd.openxmlformats-officedocument.theme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1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heme/theme1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theme/theme13.xml" ContentType="application/vnd.openxmlformats-officedocument.theme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14.xml" ContentType="application/vnd.openxmlformats-officedocument.theme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15.xml" ContentType="application/vnd.openxmlformats-officedocument.theme+xml"/>
  <Override PartName="/ppt/theme/theme16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5" r:id="rId2"/>
    <p:sldMasterId id="2147483703" r:id="rId3"/>
    <p:sldMasterId id="2147483715" r:id="rId4"/>
    <p:sldMasterId id="2147483729" r:id="rId5"/>
    <p:sldMasterId id="2147483741" r:id="rId6"/>
    <p:sldMasterId id="2147483755" r:id="rId7"/>
    <p:sldMasterId id="2147483767" r:id="rId8"/>
    <p:sldMasterId id="2147483779" r:id="rId9"/>
    <p:sldMasterId id="2147483792" r:id="rId10"/>
    <p:sldMasterId id="2147483804" r:id="rId11"/>
    <p:sldMasterId id="2147483818" r:id="rId12"/>
    <p:sldMasterId id="2147483830" r:id="rId13"/>
    <p:sldMasterId id="2147483844" r:id="rId14"/>
    <p:sldMasterId id="2147483856" r:id="rId15"/>
  </p:sldMasterIdLst>
  <p:notesMasterIdLst>
    <p:notesMasterId r:id="rId28"/>
  </p:notesMasterIdLst>
  <p:sldIdLst>
    <p:sldId id="256" r:id="rId16"/>
    <p:sldId id="300" r:id="rId17"/>
    <p:sldId id="312" r:id="rId18"/>
    <p:sldId id="302" r:id="rId19"/>
    <p:sldId id="323" r:id="rId20"/>
    <p:sldId id="322" r:id="rId21"/>
    <p:sldId id="313" r:id="rId22"/>
    <p:sldId id="310" r:id="rId23"/>
    <p:sldId id="311" r:id="rId24"/>
    <p:sldId id="320" r:id="rId25"/>
    <p:sldId id="321" r:id="rId26"/>
    <p:sldId id="309" r:id="rId27"/>
  </p:sldIdLst>
  <p:sldSz cx="9144000" cy="6858000" type="screen4x3"/>
  <p:notesSz cx="6797675" cy="9926638"/>
  <p:defaultTextStyle>
    <a:defPPr>
      <a:defRPr lang="ru-RU"/>
    </a:defPPr>
    <a:lvl1pPr marL="0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09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18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26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36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45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54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762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872" algn="l" defTabSz="91421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882CC"/>
    <a:srgbClr val="D050BE"/>
    <a:srgbClr val="CCFFCC"/>
    <a:srgbClr val="EEB8C0"/>
    <a:srgbClr val="99FF99"/>
    <a:srgbClr val="92E6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990" autoAdjust="0"/>
    <p:restoredTop sz="99645" autoAdjust="0"/>
  </p:normalViewPr>
  <p:slideViewPr>
    <p:cSldViewPr>
      <p:cViewPr varScale="1">
        <p:scale>
          <a:sx n="74" d="100"/>
          <a:sy n="74" d="100"/>
        </p:scale>
        <p:origin x="-1332" y="-8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6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9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8.xml"/><Relationship Id="rId28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4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2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212FA3-F9AE-472B-BA0F-ACD90482BA50}" type="datetimeFigureOut">
              <a:rPr lang="ru-RU" smtClean="0"/>
              <a:t>06.10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5951"/>
            <a:ext cx="5438775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712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712"/>
            <a:ext cx="2946400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DB89C0-69D8-41AD-87D6-5F32B0BA6B6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2944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09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18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26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36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45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54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762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872" algn="l" defTabSz="91421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8FF4D5-F8B7-4942-9A65-340E3B3D8AD3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8992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F8FF4D5-F8B7-4942-9A65-340E3B3D8AD3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899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gi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64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864" indent="0" algn="ctr">
              <a:buNone/>
              <a:defRPr/>
            </a:lvl2pPr>
            <a:lvl3pPr marL="913726" indent="0" algn="ctr">
              <a:buNone/>
              <a:defRPr/>
            </a:lvl3pPr>
            <a:lvl4pPr marL="1370588" indent="0" algn="ctr">
              <a:buNone/>
              <a:defRPr/>
            </a:lvl4pPr>
            <a:lvl5pPr marL="1827452" indent="0" algn="ctr">
              <a:buNone/>
              <a:defRPr/>
            </a:lvl5pPr>
            <a:lvl6pPr marL="2284313" indent="0" algn="ctr">
              <a:buNone/>
              <a:defRPr/>
            </a:lvl6pPr>
            <a:lvl7pPr marL="2741176" indent="0" algn="ctr">
              <a:buNone/>
              <a:defRPr/>
            </a:lvl7pPr>
            <a:lvl8pPr marL="3198042" indent="0" algn="ctr">
              <a:buNone/>
              <a:defRPr/>
            </a:lvl8pPr>
            <a:lvl9pPr marL="3654904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99194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7192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blipFill dpi="0" rotWithShape="1">
          <a:blip r:embed="rId2">
            <a:lum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9791742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478BA1-C23A-491E-8D9D-9BA742C7CE0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5860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1A3686-3461-47FE-BA75-169453E4E9E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54527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7FAD22-BB11-4EC1-8F2D-EA6AE40F102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98632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200153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00153"/>
            <a:ext cx="4038600" cy="3394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BC5B5-A39A-4372-AB52-A20A05CC931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755634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5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9" y="1535115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9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11A981-C1CC-4658-83DD-B457E9F63B5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973263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3A7FFC-B599-44B7-BB7C-E79EC24C1AD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64293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DCAF08-FB79-41CF-93D1-4824A7EA5B8D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414994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4" y="27305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4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C1E1E-02A3-46A4-A2C4-3D129D4027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125719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02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F45ACA-F969-47D1-BCE4-AB05F254902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1811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264"/>
            <a:ext cx="2057400" cy="5649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1" y="476264"/>
            <a:ext cx="6019800" cy="5649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0613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5EDF7E-4F2E-4D74-B123-DDF642E62CC8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966684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06374"/>
            <a:ext cx="2057400" cy="43878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06374"/>
            <a:ext cx="6019800" cy="43878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402198-E5D9-43BE-B2AC-05F3DED2FC1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48989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410EDC-6A0B-4BAC-B00D-07FE1217C74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419591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281910-974E-4816-83BB-D88CCA750EA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53FBD2-BF12-4BA9-858D-0FF7AD49F6B6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97700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7C784-C8AF-4FAC-97C1-82C07F5AC7C4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920450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12B920-FEE1-466D-9E1C-298D712D765F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196322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898F3-BB74-4EE1-B4A6-4A3E42EAF6E6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4835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5FBCF2-4CF0-43A3-92B0-716813C261F5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6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71620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109"/>
            <a:fld id="{85C6A0A1-1F82-444B-B209-9A8229D2BD0B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06.10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109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109"/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5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26284677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75D8AA-4B02-42A8-8BCC-134E9F20D8D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383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presa3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15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906" y="676962"/>
            <a:ext cx="7986197" cy="839119"/>
          </a:xfrm>
        </p:spPr>
        <p:txBody>
          <a:bodyPr/>
          <a:lstStyle>
            <a:lvl1pPr>
              <a:defRPr sz="2700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92" y="1597025"/>
            <a:ext cx="7986712" cy="4279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5335" y="5978527"/>
            <a:ext cx="2308225" cy="609600"/>
          </a:xfrm>
          <a:noFill/>
        </p:spPr>
        <p:txBody>
          <a:bodyPr anchor="ctr"/>
          <a:lstStyle>
            <a:lvl1pPr algn="ctr">
              <a:buNone/>
              <a:defRPr baseline="0"/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8033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47BADC-8D1C-4FD2-9B5E-F2841E87BBAA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t>06.10.2016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 userDrawn="1"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1554067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109"/>
            <a:fld id="{6BA75B01-A7DF-4DFB-B1DD-C7DBF32D0D97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06.10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109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109"/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62219879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457109"/>
            <a:fld id="{6443153B-C7BE-4F7A-9BFA-9116EB587FF1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06.10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457109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457109"/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7044584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8" indent="0" algn="ctr">
              <a:buNone/>
              <a:defRPr/>
            </a:lvl3pPr>
            <a:lvl4pPr marL="1371326" indent="0" algn="ctr">
              <a:buNone/>
              <a:defRPr/>
            </a:lvl4pPr>
            <a:lvl5pPr marL="1828436" indent="0" algn="ctr">
              <a:buNone/>
              <a:defRPr/>
            </a:lvl5pPr>
            <a:lvl6pPr marL="2285545" indent="0" algn="ctr">
              <a:buNone/>
              <a:defRPr/>
            </a:lvl6pPr>
            <a:lvl7pPr marL="2742654" indent="0" algn="ctr">
              <a:buNone/>
              <a:defRPr/>
            </a:lvl7pPr>
            <a:lvl8pPr marL="3199762" indent="0" algn="ctr">
              <a:buNone/>
              <a:defRPr/>
            </a:lvl8pPr>
            <a:lvl9pPr marL="36568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15BCE09-4D1E-4602-AA3D-F0EA14F2A177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B565EF-A332-4FE5-A57D-16CDFA4AE6D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53119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7"/>
          <p:cNvCxnSpPr/>
          <p:nvPr userDrawn="1"/>
        </p:nvCxnSpPr>
        <p:spPr>
          <a:xfrm>
            <a:off x="468315" y="981075"/>
            <a:ext cx="82073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D5E6BE-0C0B-4858-B201-7C86411B0737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56FF3F84-7A2A-4C35-BC0E-0CE510F962B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118145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8" indent="0">
              <a:buNone/>
              <a:defRPr sz="1600"/>
            </a:lvl3pPr>
            <a:lvl4pPr marL="1371326" indent="0">
              <a:buNone/>
              <a:defRPr sz="1400"/>
            </a:lvl4pPr>
            <a:lvl5pPr marL="1828436" indent="0">
              <a:buNone/>
              <a:defRPr sz="1400"/>
            </a:lvl5pPr>
            <a:lvl6pPr marL="2285545" indent="0">
              <a:buNone/>
              <a:defRPr sz="1400"/>
            </a:lvl6pPr>
            <a:lvl7pPr marL="2742654" indent="0">
              <a:buNone/>
              <a:defRPr sz="1400"/>
            </a:lvl7pPr>
            <a:lvl8pPr marL="3199762" indent="0">
              <a:buNone/>
              <a:defRPr sz="1400"/>
            </a:lvl8pPr>
            <a:lvl9pPr marL="36568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35B11-9BCE-41B0-BFD4-9E213DD0CCBF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B93E8-34FE-4AC6-8B15-CE1FC58F799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159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A9938B-C65A-493F-9AB1-EFCA3637701C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5E5530-13B3-4CAB-A73B-0FF532AA540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17342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D720B2-6FCC-4EEA-B7C0-10AE5DC9FEDF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F9204-A115-4DC4-9236-7BB682FAEFD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77242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2B0E83-D3DD-4768-99A8-1BC403B413E5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593985-53CF-4720-AAB2-B0910344A0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22593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D30E8E-00C6-4E82-867B-5BAFD7E980F5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0E05F-9B42-4E91-9EE8-04CD49D7F752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1150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0 copy 2">
    <p:bg>
      <p:bgPr>
        <a:solidFill>
          <a:srgbClr val="E4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/>
        </p:nvSpPr>
        <p:spPr>
          <a:xfrm>
            <a:off x="0" y="3343656"/>
            <a:ext cx="9144000" cy="170700"/>
          </a:xfrm>
          <a:custGeom>
            <a:avLst/>
            <a:gdLst/>
            <a:ahLst/>
            <a:cxnLst/>
            <a:rect l="l" t="t" r="r" b="b"/>
            <a:pathLst>
              <a:path w="25400000" h="14287500">
                <a:moveTo>
                  <a:pt x="314624" y="374998"/>
                </a:moveTo>
                <a:lnTo>
                  <a:pt x="314624" y="13912502"/>
                </a:lnTo>
                <a:lnTo>
                  <a:pt x="25085376" y="13912502"/>
                </a:lnTo>
                <a:lnTo>
                  <a:pt x="25085376" y="374998"/>
                </a:lnTo>
                <a:close/>
                <a:moveTo>
                  <a:pt x="0" y="0"/>
                </a:moveTo>
                <a:lnTo>
                  <a:pt x="25400000" y="0"/>
                </a:lnTo>
                <a:lnTo>
                  <a:pt x="25400000" y="14287500"/>
                </a:lnTo>
                <a:lnTo>
                  <a:pt x="0" y="14287500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1599" tIns="21599" rIns="21599" bIns="21599" numCol="1" spcCol="15358" rtlCol="0" anchor="ctr">
            <a:spAutoFit/>
          </a:bodyPr>
          <a:lstStyle/>
          <a:p>
            <a:pPr defTabSz="368612" latinLnBrk="1" hangingPunct="0"/>
            <a:endParaRPr lang="en-US" sz="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611188" y="476251"/>
            <a:ext cx="8075612" cy="6492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906890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AD78D-BDAB-4BBD-9275-55F2197548B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A6C8D1-3733-4CB1-8712-CCD6F371888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2736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D2C225-A5F2-447C-AFDC-60C2FEF5279D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2EBF9-E239-420E-A893-0FD219F9823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410134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4B87A3-A673-42F9-96C6-8A3C6426EE1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62058-31AB-481F-A183-FF4CF61AD46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7763029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250"/>
            <a:ext cx="2057400" cy="5649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476250"/>
            <a:ext cx="6019800" cy="5649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45F040-FC3C-4DE5-80AB-5B6A7A1B82FA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38489-84A0-456D-B383-640A42074D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48157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5327" y="5978527"/>
            <a:ext cx="2308225" cy="609600"/>
          </a:xfrm>
          <a:noFill/>
        </p:spPr>
        <p:txBody>
          <a:bodyPr anchor="ctr"/>
          <a:lstStyle>
            <a:lvl1pPr algn="ctr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F099520-D060-4095-A7E8-804B8A2DD0EA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D3CE3-80C4-49B8-8F8F-E0C0DA1E167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5379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DDF45C-CEF1-465E-9464-576B313BCFD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99B903-B287-4705-9A83-7EAFCCAC29C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4943914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28747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6" y="1292913"/>
            <a:ext cx="843832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6951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fr-FR" dirty="0"/>
            </a:lvl1pPr>
          </a:lstStyle>
          <a:p>
            <a:pPr lvl="0"/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6781854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406771"/>
            <a:ext cx="4004322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94" y="1406771"/>
            <a:ext cx="4003071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1" y="1206768"/>
            <a:ext cx="4003071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4" y="1206768"/>
            <a:ext cx="4004406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6951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fr-FR" dirty="0"/>
            </a:lvl1pPr>
          </a:lstStyle>
          <a:p>
            <a:pPr lvl="0"/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1817760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408228"/>
            <a:ext cx="274404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64241" y="1408228"/>
            <a:ext cx="274404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2" y="1206768"/>
            <a:ext cx="2744040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61102" y="1206768"/>
            <a:ext cx="2744040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208912" y="1408228"/>
            <a:ext cx="274404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12142" y="1206768"/>
            <a:ext cx="2744040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255370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4456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4004322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94" y="1292913"/>
            <a:ext cx="4003071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1" y="1093904"/>
            <a:ext cx="4003071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4" y="1093904"/>
            <a:ext cx="4004406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5111" y="3993912"/>
            <a:ext cx="4004322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5949" y="3993912"/>
            <a:ext cx="4003071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5131" y="3793937"/>
            <a:ext cx="4003071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5934" y="3793937"/>
            <a:ext cx="4004406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4488198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9" y="1306078"/>
            <a:ext cx="8438798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2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51065" lvl="0" indent="-252424" algn="l" defTabSz="912272" rtl="0" eaLnBrk="1" fontAlgn="base" latinLnBrk="0" hangingPunct="1">
              <a:lnSpc>
                <a:spcPct val="150000"/>
              </a:lnSpc>
              <a:spcBef>
                <a:spcPts val="559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ru-RU" smtClean="0"/>
              <a:t>Вставка таблицы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4493704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46" y="3425928"/>
            <a:ext cx="8432535" cy="589709"/>
          </a:xfrm>
          <a:prstGeom prst="rect">
            <a:avLst/>
          </a:prstGeom>
        </p:spPr>
        <p:txBody>
          <a:bodyPr lIns="0" tIns="42513" rIns="0" bIns="42513" anchor="b" anchorCtr="0">
            <a:norm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5" y="4015656"/>
            <a:ext cx="8441356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200">
                <a:solidFill>
                  <a:srgbClr val="666666"/>
                </a:solidFill>
              </a:defRPr>
            </a:lvl1pPr>
            <a:lvl2pPr marL="456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73246" y="6635270"/>
            <a:ext cx="6598324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912582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18"/>
          <p:cNvGrpSpPr/>
          <p:nvPr/>
        </p:nvGrpSpPr>
        <p:grpSpPr>
          <a:xfrm>
            <a:off x="165892" y="6083146"/>
            <a:ext cx="1197309" cy="381885"/>
            <a:chOff x="660382" y="6407018"/>
            <a:chExt cx="1356535" cy="402216"/>
          </a:xfrm>
        </p:grpSpPr>
        <p:sp>
          <p:nvSpPr>
            <p:cNvPr id="9" name="Rectangle 46"/>
            <p:cNvSpPr>
              <a:spLocks noChangeArrowheads="1"/>
            </p:cNvSpPr>
            <p:nvPr/>
          </p:nvSpPr>
          <p:spPr bwMode="auto">
            <a:xfrm>
              <a:off x="660382" y="6407018"/>
              <a:ext cx="1356535" cy="402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pPr algn="ctr" defTabSz="819267">
                <a:spcBef>
                  <a:spcPct val="50000"/>
                </a:spcBef>
              </a:pPr>
              <a:r>
                <a:rPr lang="en-US" sz="1900" b="1" dirty="0">
                  <a:solidFill>
                    <a:prstClr val="black"/>
                  </a:solidFill>
                </a:rPr>
                <a:t>DRAFT</a:t>
              </a:r>
            </a:p>
          </p:txBody>
        </p:sp>
        <p:sp>
          <p:nvSpPr>
            <p:cNvPr id="11" name="Line 48"/>
            <p:cNvSpPr>
              <a:spLocks noChangeShapeType="1"/>
            </p:cNvSpPr>
            <p:nvPr/>
          </p:nvSpPr>
          <p:spPr bwMode="auto">
            <a:xfrm>
              <a:off x="806519" y="6793175"/>
              <a:ext cx="1064260" cy="0"/>
            </a:xfrm>
            <a:prstGeom prst="line">
              <a:avLst/>
            </a:prstGeom>
            <a:noFill/>
            <a:ln w="38100" cmpd="dbl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pPr defTabSz="912582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Line 49"/>
            <p:cNvSpPr>
              <a:spLocks noChangeShapeType="1"/>
            </p:cNvSpPr>
            <p:nvPr/>
          </p:nvSpPr>
          <p:spPr bwMode="auto">
            <a:xfrm>
              <a:off x="806519" y="6418142"/>
              <a:ext cx="1064260" cy="0"/>
            </a:xfrm>
            <a:prstGeom prst="line">
              <a:avLst/>
            </a:prstGeom>
            <a:noFill/>
            <a:ln w="38100" cmpd="dbl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pPr defTabSz="912582"/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877589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2" y="2697399"/>
            <a:ext cx="4623292" cy="1769128"/>
          </a:xfrm>
        </p:spPr>
        <p:txBody>
          <a:bodyPr/>
          <a:lstStyle>
            <a:lvl1pPr>
              <a:buSzPct val="100000"/>
              <a:defRPr/>
            </a:lvl1pPr>
          </a:lstStyle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8" y="53583"/>
            <a:ext cx="8680777" cy="83443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34902289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273196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2176" y="6452747"/>
            <a:ext cx="297001" cy="305837"/>
          </a:xfrm>
          <a:prstGeom prst="rect">
            <a:avLst/>
          </a:prstGeom>
          <a:ln/>
        </p:spPr>
        <p:txBody>
          <a:bodyPr lIns="85007" tIns="42505" rIns="85007" bIns="42505"/>
          <a:lstStyle>
            <a:lvl1pPr>
              <a:defRPr/>
            </a:lvl1pPr>
          </a:lstStyle>
          <a:p>
            <a:pPr defTabSz="912582">
              <a:defRPr/>
            </a:pPr>
            <a:fld id="{C1849124-5C67-414B-89F9-CD362E817D2A}" type="slidenum">
              <a:rPr lang="ru-RU" smtClean="0">
                <a:solidFill>
                  <a:prstClr val="black"/>
                </a:solidFill>
              </a:rPr>
              <a:pPr defTabSz="912582"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7076218" y="6464784"/>
            <a:ext cx="1340709" cy="304332"/>
          </a:xfrm>
          <a:prstGeom prst="rect">
            <a:avLst/>
          </a:prstGeom>
          <a:ln/>
        </p:spPr>
        <p:txBody>
          <a:bodyPr lIns="85007" tIns="42505" rIns="85007" bIns="42505"/>
          <a:lstStyle>
            <a:lvl2pPr lvl="1">
              <a:defRPr/>
            </a:lvl2pPr>
          </a:lstStyle>
          <a:p>
            <a:pPr marL="456290" lvl="1" defTabSz="912582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859264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063"/>
            <a:fld id="{8CA168E6-539B-4C07-BA22-DB841B6993D1}" type="datetime1">
              <a:rPr lang="ru-RU" smtClean="0">
                <a:solidFill>
                  <a:prstClr val="black"/>
                </a:solidFill>
              </a:rPr>
              <a:pPr defTabSz="457063"/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6356352"/>
            <a:ext cx="2895600" cy="365125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063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2" y="6356352"/>
            <a:ext cx="2133600" cy="365125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063"/>
            <a:fld id="{B19B0651-EE4F-4900-A07F-96A6BFA9D0F0}" type="slidenum">
              <a:rPr lang="ru-RU" smtClean="0">
                <a:solidFill>
                  <a:prstClr val="black"/>
                </a:solidFill>
              </a:rPr>
              <a:pPr defTabSz="457063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37580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8" indent="0" algn="ctr">
              <a:buNone/>
              <a:defRPr/>
            </a:lvl3pPr>
            <a:lvl4pPr marL="1371326" indent="0" algn="ctr">
              <a:buNone/>
              <a:defRPr/>
            </a:lvl4pPr>
            <a:lvl5pPr marL="1828436" indent="0" algn="ctr">
              <a:buNone/>
              <a:defRPr/>
            </a:lvl5pPr>
            <a:lvl6pPr marL="2285545" indent="0" algn="ctr">
              <a:buNone/>
              <a:defRPr/>
            </a:lvl6pPr>
            <a:lvl7pPr marL="2742654" indent="0" algn="ctr">
              <a:buNone/>
              <a:defRPr/>
            </a:lvl7pPr>
            <a:lvl8pPr marL="3199762" indent="0" algn="ctr">
              <a:buNone/>
              <a:defRPr/>
            </a:lvl8pPr>
            <a:lvl9pPr marL="36568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0ABC59-4F62-4B95-98F1-DFE9439F9F2F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B565EF-A332-4FE5-A57D-16CDFA4AE6D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3045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81730B-1806-42BD-8B4D-67E52AD90D0C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56FF3F84-7A2A-4C35-BC0E-0CE510F962B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126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8" indent="0">
              <a:buNone/>
              <a:defRPr sz="1600"/>
            </a:lvl3pPr>
            <a:lvl4pPr marL="1371326" indent="0">
              <a:buNone/>
              <a:defRPr sz="1400"/>
            </a:lvl4pPr>
            <a:lvl5pPr marL="1828436" indent="0">
              <a:buNone/>
              <a:defRPr sz="1400"/>
            </a:lvl5pPr>
            <a:lvl6pPr marL="2285545" indent="0">
              <a:buNone/>
              <a:defRPr sz="1400"/>
            </a:lvl6pPr>
            <a:lvl7pPr marL="2742654" indent="0">
              <a:buNone/>
              <a:defRPr sz="1400"/>
            </a:lvl7pPr>
            <a:lvl8pPr marL="3199762" indent="0">
              <a:buNone/>
              <a:defRPr sz="1400"/>
            </a:lvl8pPr>
            <a:lvl9pPr marL="36568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B980C3-C261-4ABC-A58D-94A2677EF35E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B93E8-34FE-4AC6-8B15-CE1FC58F799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3274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694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6625" indent="0" algn="ctr">
              <a:buNone/>
              <a:defRPr/>
            </a:lvl2pPr>
            <a:lvl3pPr marL="913276" indent="0" algn="ctr">
              <a:buNone/>
              <a:defRPr/>
            </a:lvl3pPr>
            <a:lvl4pPr marL="1369906" indent="0" algn="ctr">
              <a:buNone/>
              <a:defRPr/>
            </a:lvl4pPr>
            <a:lvl5pPr marL="1826551" indent="0" algn="ctr">
              <a:buNone/>
              <a:defRPr/>
            </a:lvl5pPr>
            <a:lvl6pPr marL="2283175" indent="0" algn="ctr">
              <a:buNone/>
              <a:defRPr/>
            </a:lvl6pPr>
            <a:lvl7pPr marL="2739797" indent="0" algn="ctr">
              <a:buNone/>
              <a:defRPr/>
            </a:lvl7pPr>
            <a:lvl8pPr marL="3196443" indent="0" algn="ctr">
              <a:buNone/>
              <a:defRPr/>
            </a:lvl8pPr>
            <a:lvl9pPr marL="3653080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80573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42D1A6-62FB-4C9F-A2E5-AA979CAE6439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5E5530-13B3-4CAB-A73B-0FF532AA540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3135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B496E5-3134-433C-B864-E83E1EBC6F68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F9204-A115-4DC4-9236-7BB682FAEFD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2587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4CBC9B-F786-41F1-B0EA-2175925666E2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593985-53CF-4720-AAB2-B0910344A0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9278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393E33-A80C-45FA-B2D1-4612B224814A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0E05F-9B42-4E91-9EE8-04CD49D7F752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842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115165-B486-4869-B182-4C953CA7A40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A6C8D1-3733-4CB1-8712-CCD6F371888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872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0CC32F-C0F4-445B-BC1D-D715B4A354D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2EBF9-E239-420E-A893-0FD219F9823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189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79F9D4B-1A88-48A9-8B45-FBED649FD54B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62058-31AB-481F-A183-FF4CF61AD46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3824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250"/>
            <a:ext cx="2057400" cy="5649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476250"/>
            <a:ext cx="6019800" cy="5649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B8AD9A-D7CC-43E5-96A1-60FDFF8B5E20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38489-84A0-456D-B383-640A42074D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447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5327" y="5978527"/>
            <a:ext cx="2308225" cy="609600"/>
          </a:xfrm>
          <a:noFill/>
        </p:spPr>
        <p:txBody>
          <a:bodyPr anchor="ctr"/>
          <a:lstStyle>
            <a:lvl1pPr algn="ctr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C72F9-BDB2-4872-88EB-6D63F09787FC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D3CE3-80C4-49B8-8F8F-E0C0DA1E167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266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E24A7D2-0CC6-4898-B699-600DD4881272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99B903-B287-4705-9A83-7EAFCCAC29C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0447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3078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8" indent="0" algn="ctr">
              <a:buNone/>
              <a:defRPr/>
            </a:lvl3pPr>
            <a:lvl4pPr marL="1371326" indent="0" algn="ctr">
              <a:buNone/>
              <a:defRPr/>
            </a:lvl4pPr>
            <a:lvl5pPr marL="1828436" indent="0" algn="ctr">
              <a:buNone/>
              <a:defRPr/>
            </a:lvl5pPr>
            <a:lvl6pPr marL="2285545" indent="0" algn="ctr">
              <a:buNone/>
              <a:defRPr/>
            </a:lvl6pPr>
            <a:lvl7pPr marL="2742654" indent="0" algn="ctr">
              <a:buNone/>
              <a:defRPr/>
            </a:lvl7pPr>
            <a:lvl8pPr marL="3199762" indent="0" algn="ctr">
              <a:buNone/>
              <a:defRPr/>
            </a:lvl8pPr>
            <a:lvl9pPr marL="36568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4D47B72F-1BD9-470F-93C8-A3198E3888D1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9236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40B2C317-DB0E-4223-BA59-2D8F88D95CC0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4058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8" indent="0">
              <a:buNone/>
              <a:defRPr sz="1600"/>
            </a:lvl3pPr>
            <a:lvl4pPr marL="1371326" indent="0">
              <a:buNone/>
              <a:defRPr sz="1400"/>
            </a:lvl4pPr>
            <a:lvl5pPr marL="1828436" indent="0">
              <a:buNone/>
              <a:defRPr sz="1400"/>
            </a:lvl5pPr>
            <a:lvl6pPr marL="2285545" indent="0">
              <a:buNone/>
              <a:defRPr sz="1400"/>
            </a:lvl6pPr>
            <a:lvl7pPr marL="2742654" indent="0">
              <a:buNone/>
              <a:defRPr sz="1400"/>
            </a:lvl7pPr>
            <a:lvl8pPr marL="3199762" indent="0">
              <a:buNone/>
              <a:defRPr sz="1400"/>
            </a:lvl8pPr>
            <a:lvl9pPr marL="36568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D62C777-0271-4370-AD1C-FFA1B52A5063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0849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9F21D14-B3FF-45F1-8C98-CD6E526C4BB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117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13A2E637-C3D8-44ED-9600-FD7B891A796E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9325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-1764704" y="6619875"/>
            <a:ext cx="2133600" cy="476250"/>
          </a:xfrm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058B2C81-AA34-458A-A22E-7C6DAB33CA94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6526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25582" y="6619875"/>
            <a:ext cx="2133600" cy="476250"/>
          </a:xfrm>
          <a:ln/>
        </p:spPr>
        <p:txBody>
          <a:bodyPr/>
          <a:lstStyle>
            <a:lvl1pPr>
              <a:defRPr sz="1100"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2418E6A-17B8-49D0-8954-D32A86CE06C1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1575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47ECB454-FC76-4A46-8735-4CDA47A6B8C0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8592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5CCE5E53-D91C-4A37-B67F-5F92AD770155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9294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049BF17-9B47-454A-9986-77D49A068EFE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51249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7143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2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5" indent="0">
              <a:buNone/>
              <a:defRPr sz="1800"/>
            </a:lvl2pPr>
            <a:lvl3pPr marL="913276" indent="0">
              <a:buNone/>
              <a:defRPr sz="1600"/>
            </a:lvl3pPr>
            <a:lvl4pPr marL="1369906" indent="0">
              <a:buNone/>
              <a:defRPr sz="1400"/>
            </a:lvl4pPr>
            <a:lvl5pPr marL="1826551" indent="0">
              <a:buNone/>
              <a:defRPr sz="1400"/>
            </a:lvl5pPr>
            <a:lvl6pPr marL="2283175" indent="0">
              <a:buNone/>
              <a:defRPr sz="1400"/>
            </a:lvl6pPr>
            <a:lvl7pPr marL="2739797" indent="0">
              <a:buNone/>
              <a:defRPr sz="1400"/>
            </a:lvl7pPr>
            <a:lvl8pPr marL="3196443" indent="0">
              <a:buNone/>
              <a:defRPr sz="1400"/>
            </a:lvl8pPr>
            <a:lvl9pPr marL="365308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146357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250"/>
            <a:ext cx="2057400" cy="5649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476250"/>
            <a:ext cx="6019800" cy="5649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BF218353-BA0E-4F67-B1B9-42176C9CB761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271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8" indent="0" algn="ctr">
              <a:buNone/>
              <a:defRPr/>
            </a:lvl3pPr>
            <a:lvl4pPr marL="1371326" indent="0" algn="ctr">
              <a:buNone/>
              <a:defRPr/>
            </a:lvl4pPr>
            <a:lvl5pPr marL="1828436" indent="0" algn="ctr">
              <a:buNone/>
              <a:defRPr/>
            </a:lvl5pPr>
            <a:lvl6pPr marL="2285545" indent="0" algn="ctr">
              <a:buNone/>
              <a:defRPr/>
            </a:lvl6pPr>
            <a:lvl7pPr marL="2742654" indent="0" algn="ctr">
              <a:buNone/>
              <a:defRPr/>
            </a:lvl7pPr>
            <a:lvl8pPr marL="3199762" indent="0" algn="ctr">
              <a:buNone/>
              <a:defRPr/>
            </a:lvl8pPr>
            <a:lvl9pPr marL="36568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706E90-3CFE-4FDD-AF58-F05C53EF78A9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875207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0E777F-CD4A-4053-80C4-650A1DE35C6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8011292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8" indent="0">
              <a:buNone/>
              <a:defRPr sz="1600"/>
            </a:lvl3pPr>
            <a:lvl4pPr marL="1371326" indent="0">
              <a:buNone/>
              <a:defRPr sz="1400"/>
            </a:lvl4pPr>
            <a:lvl5pPr marL="1828436" indent="0">
              <a:buNone/>
              <a:defRPr sz="1400"/>
            </a:lvl5pPr>
            <a:lvl6pPr marL="2285545" indent="0">
              <a:buNone/>
              <a:defRPr sz="1400"/>
            </a:lvl6pPr>
            <a:lvl7pPr marL="2742654" indent="0">
              <a:buNone/>
              <a:defRPr sz="1400"/>
            </a:lvl7pPr>
            <a:lvl8pPr marL="3199762" indent="0">
              <a:buNone/>
              <a:defRPr sz="1400"/>
            </a:lvl8pPr>
            <a:lvl9pPr marL="36568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DEB9529-35A7-40C7-BAD2-AFE67EDB69E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5628608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2" y="1905000"/>
            <a:ext cx="3673475" cy="3684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283077" y="1905000"/>
            <a:ext cx="3673475" cy="36845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55F9B0B-BA05-4479-89C5-C7C206A2809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166604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8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9973D1-4C1D-4F17-8E83-E4CED7C2E847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0224045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D760892-16CC-4392-8B05-487719FD15FF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024120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4252CE-0701-4002-867C-78905E8F8235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38077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4F147F-86F1-426E-97BB-41430BFA4E7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80256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C85D477-EA86-4765-82EE-333ACA474D94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6031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125561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61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65493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E024D9-B892-4F85-8A71-DF43A1BFFFA1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120290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357938" y="692150"/>
            <a:ext cx="1966912" cy="48974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1" y="692150"/>
            <a:ext cx="5748338" cy="48974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3DC860-1DF8-4FE0-BDED-B974EB050E38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2703190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1202" y="762000"/>
            <a:ext cx="6705600" cy="65563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457200" y="1905000"/>
            <a:ext cx="8229600" cy="4221163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  <a:endParaRPr lang="ru-RU" noProof="0" dirty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8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E1E78C-3BF7-47A8-9183-255ABF98F70B}" type="slidenum">
              <a:rPr lang="ru-RU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5584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5" indent="0">
              <a:buNone/>
              <a:defRPr sz="2000" b="1"/>
            </a:lvl2pPr>
            <a:lvl3pPr marL="913276" indent="0">
              <a:buNone/>
              <a:defRPr sz="1800" b="1"/>
            </a:lvl3pPr>
            <a:lvl4pPr marL="1369906" indent="0">
              <a:buNone/>
              <a:defRPr sz="1600" b="1"/>
            </a:lvl4pPr>
            <a:lvl5pPr marL="1826551" indent="0">
              <a:buNone/>
              <a:defRPr sz="1600" b="1"/>
            </a:lvl5pPr>
            <a:lvl6pPr marL="2283175" indent="0">
              <a:buNone/>
              <a:defRPr sz="1600" b="1"/>
            </a:lvl6pPr>
            <a:lvl7pPr marL="2739797" indent="0">
              <a:buNone/>
              <a:defRPr sz="1600" b="1"/>
            </a:lvl7pPr>
            <a:lvl8pPr marL="3196443" indent="0">
              <a:buNone/>
              <a:defRPr sz="1600" b="1"/>
            </a:lvl8pPr>
            <a:lvl9pPr marL="365308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167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5" indent="0">
              <a:buNone/>
              <a:defRPr sz="2000" b="1"/>
            </a:lvl2pPr>
            <a:lvl3pPr marL="913276" indent="0">
              <a:buNone/>
              <a:defRPr sz="1800" b="1"/>
            </a:lvl3pPr>
            <a:lvl4pPr marL="1369906" indent="0">
              <a:buNone/>
              <a:defRPr sz="1600" b="1"/>
            </a:lvl4pPr>
            <a:lvl5pPr marL="1826551" indent="0">
              <a:buNone/>
              <a:defRPr sz="1600" b="1"/>
            </a:lvl5pPr>
            <a:lvl6pPr marL="2283175" indent="0">
              <a:buNone/>
              <a:defRPr sz="1600" b="1"/>
            </a:lvl6pPr>
            <a:lvl7pPr marL="2739797" indent="0">
              <a:buNone/>
              <a:defRPr sz="1600" b="1"/>
            </a:lvl7pPr>
            <a:lvl8pPr marL="3196443" indent="0">
              <a:buNone/>
              <a:defRPr sz="1600" b="1"/>
            </a:lvl8pPr>
            <a:lvl9pPr marL="365308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16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3762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694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2688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988494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3" y="27306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29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3" y="143512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5" indent="0">
              <a:buNone/>
              <a:defRPr sz="1200"/>
            </a:lvl2pPr>
            <a:lvl3pPr marL="913276" indent="0">
              <a:buNone/>
              <a:defRPr sz="1000"/>
            </a:lvl3pPr>
            <a:lvl4pPr marL="1369906" indent="0">
              <a:buNone/>
              <a:defRPr sz="900"/>
            </a:lvl4pPr>
            <a:lvl5pPr marL="1826551" indent="0">
              <a:buNone/>
              <a:defRPr sz="900"/>
            </a:lvl5pPr>
            <a:lvl6pPr marL="2283175" indent="0">
              <a:buNone/>
              <a:defRPr sz="900"/>
            </a:lvl6pPr>
            <a:lvl7pPr marL="2739797" indent="0">
              <a:buNone/>
              <a:defRPr sz="900"/>
            </a:lvl7pPr>
            <a:lvl8pPr marL="3196443" indent="0">
              <a:buNone/>
              <a:defRPr sz="900"/>
            </a:lvl8pPr>
            <a:lvl9pPr marL="365308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7494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1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8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5" indent="0">
              <a:buNone/>
              <a:defRPr sz="2800"/>
            </a:lvl2pPr>
            <a:lvl3pPr marL="913276" indent="0">
              <a:buNone/>
              <a:defRPr sz="2400"/>
            </a:lvl3pPr>
            <a:lvl4pPr marL="1369906" indent="0">
              <a:buNone/>
              <a:defRPr sz="2000"/>
            </a:lvl4pPr>
            <a:lvl5pPr marL="1826551" indent="0">
              <a:buNone/>
              <a:defRPr sz="2000"/>
            </a:lvl5pPr>
            <a:lvl6pPr marL="2283175" indent="0">
              <a:buNone/>
              <a:defRPr sz="2000"/>
            </a:lvl6pPr>
            <a:lvl7pPr marL="2739797" indent="0">
              <a:buNone/>
              <a:defRPr sz="2000"/>
            </a:lvl7pPr>
            <a:lvl8pPr marL="3196443" indent="0">
              <a:buNone/>
              <a:defRPr sz="2000"/>
            </a:lvl8pPr>
            <a:lvl9pPr marL="365308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75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6625" indent="0">
              <a:buNone/>
              <a:defRPr sz="1200"/>
            </a:lvl2pPr>
            <a:lvl3pPr marL="913276" indent="0">
              <a:buNone/>
              <a:defRPr sz="1000"/>
            </a:lvl3pPr>
            <a:lvl4pPr marL="1369906" indent="0">
              <a:buNone/>
              <a:defRPr sz="900"/>
            </a:lvl4pPr>
            <a:lvl5pPr marL="1826551" indent="0">
              <a:buNone/>
              <a:defRPr sz="900"/>
            </a:lvl5pPr>
            <a:lvl6pPr marL="2283175" indent="0">
              <a:buNone/>
              <a:defRPr sz="900"/>
            </a:lvl6pPr>
            <a:lvl7pPr marL="2739797" indent="0">
              <a:buNone/>
              <a:defRPr sz="900"/>
            </a:lvl7pPr>
            <a:lvl8pPr marL="3196443" indent="0">
              <a:buNone/>
              <a:defRPr sz="900"/>
            </a:lvl8pPr>
            <a:lvl9pPr marL="365308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4348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1780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496"/>
            <a:ext cx="2057400" cy="5649913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1" y="476496"/>
            <a:ext cx="6019800" cy="5649913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1673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presa3"/>
          <p:cNvPicPr>
            <a:picLocks noChangeAspect="1" noChangeArrowheads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248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917" y="677195"/>
            <a:ext cx="7986197" cy="839119"/>
          </a:xfrm>
        </p:spPr>
        <p:txBody>
          <a:bodyPr/>
          <a:lstStyle>
            <a:lvl1pPr>
              <a:defRPr sz="27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92" y="1597027"/>
            <a:ext cx="7986712" cy="4279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5459" y="5978527"/>
            <a:ext cx="2308225" cy="609600"/>
          </a:xfrm>
          <a:noFill/>
        </p:spPr>
        <p:txBody>
          <a:bodyPr anchor="ctr"/>
          <a:lstStyle>
            <a:lvl1pPr algn="ctr">
              <a:buNone/>
              <a:defRPr baseline="0"/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>
                <a:solidFill>
                  <a:prstClr val="black">
                    <a:tint val="75000"/>
                  </a:prst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73875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0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/>
        </p:nvSpPr>
        <p:spPr>
          <a:xfrm>
            <a:off x="0" y="3343675"/>
            <a:ext cx="9144000" cy="170698"/>
          </a:xfrm>
          <a:custGeom>
            <a:avLst/>
            <a:gdLst/>
            <a:ahLst/>
            <a:cxnLst/>
            <a:rect l="l" t="t" r="r" b="b"/>
            <a:pathLst>
              <a:path w="25400000" h="14287500">
                <a:moveTo>
                  <a:pt x="314624" y="374998"/>
                </a:moveTo>
                <a:lnTo>
                  <a:pt x="314624" y="13912502"/>
                </a:lnTo>
                <a:lnTo>
                  <a:pt x="25085376" y="13912502"/>
                </a:lnTo>
                <a:lnTo>
                  <a:pt x="25085376" y="374998"/>
                </a:lnTo>
                <a:close/>
                <a:moveTo>
                  <a:pt x="0" y="0"/>
                </a:moveTo>
                <a:lnTo>
                  <a:pt x="25400000" y="0"/>
                </a:lnTo>
                <a:lnTo>
                  <a:pt x="25400000" y="14287500"/>
                </a:lnTo>
                <a:lnTo>
                  <a:pt x="0" y="14287500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1598" tIns="21598" rIns="21598" bIns="21598" numCol="1" spcCol="15358" rtlCol="0" anchor="ctr">
            <a:spAutoFit/>
          </a:bodyPr>
          <a:lstStyle/>
          <a:p>
            <a:pPr defTabSz="368433" latinLnBrk="1" hangingPunct="0"/>
            <a:endParaRPr lang="en-US" sz="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" name="Заголовок 1"/>
          <p:cNvSpPr>
            <a:spLocks noGrp="1"/>
          </p:cNvSpPr>
          <p:nvPr>
            <p:ph type="title"/>
          </p:nvPr>
        </p:nvSpPr>
        <p:spPr>
          <a:xfrm>
            <a:off x="611188" y="476251"/>
            <a:ext cx="8075612" cy="64928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890648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Blank 0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/>
        </p:nvSpPr>
        <p:spPr>
          <a:xfrm>
            <a:off x="0" y="3343677"/>
            <a:ext cx="9144000" cy="170693"/>
          </a:xfrm>
          <a:custGeom>
            <a:avLst/>
            <a:gdLst/>
            <a:ahLst/>
            <a:cxnLst/>
            <a:rect l="l" t="t" r="r" b="b"/>
            <a:pathLst>
              <a:path w="25400000" h="14287500">
                <a:moveTo>
                  <a:pt x="314624" y="374998"/>
                </a:moveTo>
                <a:lnTo>
                  <a:pt x="314624" y="13912502"/>
                </a:lnTo>
                <a:lnTo>
                  <a:pt x="25085376" y="13912502"/>
                </a:lnTo>
                <a:lnTo>
                  <a:pt x="25085376" y="374998"/>
                </a:lnTo>
                <a:close/>
                <a:moveTo>
                  <a:pt x="0" y="0"/>
                </a:moveTo>
                <a:lnTo>
                  <a:pt x="25400000" y="0"/>
                </a:lnTo>
                <a:lnTo>
                  <a:pt x="25400000" y="14287500"/>
                </a:lnTo>
                <a:lnTo>
                  <a:pt x="0" y="14287500"/>
                </a:lnTo>
                <a:close/>
              </a:path>
            </a:pathLst>
          </a:custGeom>
          <a:solidFill>
            <a:srgbClr val="FFFFFF"/>
          </a:solidFill>
          <a:ln w="25400" cap="flat">
            <a:noFill/>
            <a:prstDash val="solid"/>
            <a:beve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1595" tIns="21595" rIns="21595" bIns="21595" numCol="1" spcCol="15355" rtlCol="0" anchor="ctr">
            <a:spAutoFit/>
          </a:bodyPr>
          <a:lstStyle/>
          <a:p>
            <a:pPr defTabSz="368393" latinLnBrk="1" hangingPunct="0"/>
            <a:endParaRPr lang="en-US" sz="8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860311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917" y="67717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90" y="1597027"/>
            <a:ext cx="7986712" cy="42799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cs typeface="Arial" charset="0"/>
              </a:defRPr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8" name="Номер слайда 5"/>
          <p:cNvSpPr txBox="1">
            <a:spLocks/>
          </p:cNvSpPr>
          <p:nvPr userDrawn="1"/>
        </p:nvSpPr>
        <p:spPr bwMode="auto">
          <a:xfrm>
            <a:off x="7012782" y="6612933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defTabSz="913768"/>
            <a:fld id="{8047B6FE-315E-4DAE-BA42-B805F0E538A7}" type="slidenum">
              <a:rPr lang="ru-RU" smtClean="0">
                <a:solidFill>
                  <a:prstClr val="black"/>
                </a:solidFill>
              </a:rPr>
              <a:pPr defTabSz="91376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10536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4" y="4406939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4" y="290672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864" indent="0">
              <a:buNone/>
              <a:defRPr sz="1800"/>
            </a:lvl2pPr>
            <a:lvl3pPr marL="913726" indent="0">
              <a:buNone/>
              <a:defRPr sz="1600"/>
            </a:lvl3pPr>
            <a:lvl4pPr marL="1370588" indent="0">
              <a:buNone/>
              <a:defRPr sz="1400"/>
            </a:lvl4pPr>
            <a:lvl5pPr marL="1827452" indent="0">
              <a:buNone/>
              <a:defRPr sz="1400"/>
            </a:lvl5pPr>
            <a:lvl6pPr marL="2284313" indent="0">
              <a:buNone/>
              <a:defRPr sz="1400"/>
            </a:lvl6pPr>
            <a:lvl7pPr marL="2741176" indent="0">
              <a:buNone/>
              <a:defRPr sz="1400"/>
            </a:lvl7pPr>
            <a:lvl8pPr marL="3198042" indent="0">
              <a:buNone/>
              <a:defRPr sz="1400"/>
            </a:lvl8pPr>
            <a:lvl9pPr marL="365490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3966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8452424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2591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14735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49546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253061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6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75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5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16546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6311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8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3672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159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1" y="1125548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48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3384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A00811-1C58-4FB9-B69A-64F861551C0C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2" descr="presa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8743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8" indent="0" algn="ctr">
              <a:buNone/>
              <a:defRPr/>
            </a:lvl3pPr>
            <a:lvl4pPr marL="1371326" indent="0" algn="ctr">
              <a:buNone/>
              <a:defRPr/>
            </a:lvl4pPr>
            <a:lvl5pPr marL="1828436" indent="0" algn="ctr">
              <a:buNone/>
              <a:defRPr/>
            </a:lvl5pPr>
            <a:lvl6pPr marL="2285545" indent="0" algn="ctr">
              <a:buNone/>
              <a:defRPr/>
            </a:lvl6pPr>
            <a:lvl7pPr marL="2742654" indent="0" algn="ctr">
              <a:buNone/>
              <a:defRPr/>
            </a:lvl7pPr>
            <a:lvl8pPr marL="3199762" indent="0" algn="ctr">
              <a:buNone/>
              <a:defRPr/>
            </a:lvl8pPr>
            <a:lvl9pPr marL="36568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FAE837-E934-4939-BB4B-50C57B7CE3F2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B565EF-A332-4FE5-A57D-16CDFA4AE6D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2132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7"/>
          <p:cNvCxnSpPr/>
          <p:nvPr userDrawn="1"/>
        </p:nvCxnSpPr>
        <p:spPr>
          <a:xfrm>
            <a:off x="468315" y="981075"/>
            <a:ext cx="8207375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E26428-87AE-499A-9680-4B62A565D0F9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56FF3F84-7A2A-4C35-BC0E-0CE510F962B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2875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8" indent="0">
              <a:buNone/>
              <a:defRPr sz="1600"/>
            </a:lvl3pPr>
            <a:lvl4pPr marL="1371326" indent="0">
              <a:buNone/>
              <a:defRPr sz="1400"/>
            </a:lvl4pPr>
            <a:lvl5pPr marL="1828436" indent="0">
              <a:buNone/>
              <a:defRPr sz="1400"/>
            </a:lvl5pPr>
            <a:lvl6pPr marL="2285545" indent="0">
              <a:buNone/>
              <a:defRPr sz="1400"/>
            </a:lvl6pPr>
            <a:lvl7pPr marL="2742654" indent="0">
              <a:buNone/>
              <a:defRPr sz="1400"/>
            </a:lvl7pPr>
            <a:lvl8pPr marL="3199762" indent="0">
              <a:buNone/>
              <a:defRPr sz="1400"/>
            </a:lvl8pPr>
            <a:lvl9pPr marL="36568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4A5BE3-E241-42E1-A145-6D6B4DF6FBB0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B93E8-34FE-4AC6-8B15-CE1FC58F799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1280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713D51-6FAB-4201-912F-09E286999513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5E5530-13B3-4CAB-A73B-0FF532AA540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116994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4F123E-67A0-4DC3-955D-B41C03956105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F9204-A115-4DC4-9236-7BB682FAEFD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342417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0C3F9D-6692-49CA-8818-63CFF602E020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593985-53CF-4720-AAB2-B0910344A0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835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DA3E1-BD21-4DD6-997B-65FDBBD34E29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0E05F-9B42-4E91-9EE8-04CD49D7F752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57215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16160C-37B1-4C70-8104-AAB8E0237B3B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A6C8D1-3733-4CB1-8712-CCD6F371888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61937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AA1ED1B-43C8-4CC6-984A-A06096EF888D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2EBF9-E239-420E-A893-0FD219F9823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955998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4" indent="0">
              <a:buNone/>
              <a:defRPr sz="2000" b="1"/>
            </a:lvl2pPr>
            <a:lvl3pPr marL="913726" indent="0">
              <a:buNone/>
              <a:defRPr sz="1800" b="1"/>
            </a:lvl3pPr>
            <a:lvl4pPr marL="1370588" indent="0">
              <a:buNone/>
              <a:defRPr sz="1600" b="1"/>
            </a:lvl4pPr>
            <a:lvl5pPr marL="1827452" indent="0">
              <a:buNone/>
              <a:defRPr sz="1600" b="1"/>
            </a:lvl5pPr>
            <a:lvl6pPr marL="2284313" indent="0">
              <a:buNone/>
              <a:defRPr sz="1600" b="1"/>
            </a:lvl6pPr>
            <a:lvl7pPr marL="2741176" indent="0">
              <a:buNone/>
              <a:defRPr sz="1600" b="1"/>
            </a:lvl7pPr>
            <a:lvl8pPr marL="3198042" indent="0">
              <a:buNone/>
              <a:defRPr sz="1600" b="1"/>
            </a:lvl8pPr>
            <a:lvl9pPr marL="365490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43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864" indent="0">
              <a:buNone/>
              <a:defRPr sz="2000" b="1"/>
            </a:lvl2pPr>
            <a:lvl3pPr marL="913726" indent="0">
              <a:buNone/>
              <a:defRPr sz="1800" b="1"/>
            </a:lvl3pPr>
            <a:lvl4pPr marL="1370588" indent="0">
              <a:buNone/>
              <a:defRPr sz="1600" b="1"/>
            </a:lvl4pPr>
            <a:lvl5pPr marL="1827452" indent="0">
              <a:buNone/>
              <a:defRPr sz="1600" b="1"/>
            </a:lvl5pPr>
            <a:lvl6pPr marL="2284313" indent="0">
              <a:buNone/>
              <a:defRPr sz="1600" b="1"/>
            </a:lvl6pPr>
            <a:lvl7pPr marL="2741176" indent="0">
              <a:buNone/>
              <a:defRPr sz="1600" b="1"/>
            </a:lvl7pPr>
            <a:lvl8pPr marL="3198042" indent="0">
              <a:buNone/>
              <a:defRPr sz="1600" b="1"/>
            </a:lvl8pPr>
            <a:lvl9pPr marL="365490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43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9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7467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1BF7A9-94CA-4F97-A320-74F854A2901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62058-31AB-481F-A183-FF4CF61AD46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164357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250"/>
            <a:ext cx="2057400" cy="5649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476250"/>
            <a:ext cx="6019800" cy="5649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EC0750-D001-459F-ABCE-6D0FC9336973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38489-84A0-456D-B383-640A42074D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47105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5327" y="5978527"/>
            <a:ext cx="2308225" cy="609600"/>
          </a:xfrm>
          <a:noFill/>
        </p:spPr>
        <p:txBody>
          <a:bodyPr anchor="ctr"/>
          <a:lstStyle>
            <a:lvl1pPr algn="ctr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52ED74-BC05-476C-A855-571280FCB3D8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D3CE3-80C4-49B8-8F8F-E0C0DA1E167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8130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8BC15E-0043-4EB8-A329-8426C896A0EE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99B903-B287-4705-9A83-7EAFCCAC29C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1325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0462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6" y="1292913"/>
            <a:ext cx="843832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6951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fr-FR" dirty="0"/>
            </a:lvl1pPr>
          </a:lstStyle>
          <a:p>
            <a:pPr lvl="0"/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044937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406771"/>
            <a:ext cx="4004322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94" y="1406771"/>
            <a:ext cx="4003071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1" y="1206768"/>
            <a:ext cx="4003071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4" y="1206768"/>
            <a:ext cx="4004406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6951" bIns="0" numCol="1" anchor="ctr" anchorCtr="0" compatLnSpc="1">
            <a:prstTxWarp prst="textNoShape">
              <a:avLst/>
            </a:prstTxWarp>
            <a:normAutofit/>
          </a:bodyPr>
          <a:lstStyle>
            <a:lvl1pPr>
              <a:defRPr lang="fr-FR" dirty="0"/>
            </a:lvl1pPr>
          </a:lstStyle>
          <a:p>
            <a:pPr lvl="0"/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2204608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408228"/>
            <a:ext cx="274404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6064241" y="1408228"/>
            <a:ext cx="274404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12" y="1206768"/>
            <a:ext cx="2744040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6061102" y="1206768"/>
            <a:ext cx="2744040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208912" y="1408228"/>
            <a:ext cx="2744040" cy="50956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7"/>
          </p:nvPr>
        </p:nvSpPr>
        <p:spPr>
          <a:xfrm>
            <a:off x="3212142" y="1206768"/>
            <a:ext cx="2744040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54501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har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353585" y="1292913"/>
            <a:ext cx="4004322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4789094" y="1292913"/>
            <a:ext cx="4003071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55131" y="1093904"/>
            <a:ext cx="4003071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4785934" y="1093904"/>
            <a:ext cx="4004406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6" hasCustomPrompt="1"/>
          </p:nvPr>
        </p:nvSpPr>
        <p:spPr>
          <a:xfrm>
            <a:off x="355111" y="3993912"/>
            <a:ext cx="4004322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sz="2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9" name="Picture Placeholder 7"/>
          <p:cNvSpPr>
            <a:spLocks noGrp="1"/>
          </p:cNvSpPr>
          <p:nvPr>
            <p:ph type="pic" sz="quarter" idx="17" hasCustomPrompt="1"/>
          </p:nvPr>
        </p:nvSpPr>
        <p:spPr>
          <a:xfrm>
            <a:off x="4785949" y="3993912"/>
            <a:ext cx="4003071" cy="2535078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252424" indent="-252424" algn="l" defTabSz="912272" rtl="0" eaLnBrk="1" fontAlgn="base" latinLnBrk="0" hangingPunct="1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  <a:defRPr lang="en-US" altLang="zh-CN" sz="2200" kern="12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 dirty="0" smtClean="0"/>
              <a:t>Wizard Chart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8"/>
          </p:nvPr>
        </p:nvSpPr>
        <p:spPr>
          <a:xfrm>
            <a:off x="355131" y="3793937"/>
            <a:ext cx="4003071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4785934" y="3793937"/>
            <a:ext cx="4004406" cy="419016"/>
          </a:xfrm>
          <a:blipFill dpi="0" rotWithShape="1">
            <a:blip r:embed="rId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0" ty="0" sx="100000" sy="100000" flip="none" algn="b"/>
          </a:blipFill>
        </p:spPr>
        <p:txBody>
          <a:bodyPr lIns="0" tIns="0" rIns="0" bIns="85027" anchor="b" anchorCtr="0">
            <a:normAutofit/>
          </a:bodyPr>
          <a:lstStyle>
            <a:lvl1pPr marL="0" indent="0" algn="ctr">
              <a:buNone/>
              <a:defRPr sz="1500" b="1" cap="all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00947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352609" y="1306078"/>
            <a:ext cx="8438798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200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51065" lvl="0" indent="-252424" algn="l" defTabSz="912272" rtl="0" eaLnBrk="1" fontAlgn="base" latinLnBrk="0" hangingPunct="1">
              <a:lnSpc>
                <a:spcPct val="150000"/>
              </a:lnSpc>
              <a:spcBef>
                <a:spcPts val="559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ru-RU" smtClean="0"/>
              <a:t>Вставка таблицы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721108" y="385199"/>
            <a:ext cx="7367262" cy="756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993969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113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73246" y="3425928"/>
            <a:ext cx="8432535" cy="589709"/>
          </a:xfrm>
          <a:prstGeom prst="rect">
            <a:avLst/>
          </a:prstGeom>
        </p:spPr>
        <p:txBody>
          <a:bodyPr lIns="0" tIns="42513" rIns="0" bIns="42513" anchor="b" anchorCtr="0">
            <a:normAutofit/>
          </a:bodyPr>
          <a:lstStyle>
            <a:lvl1pPr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73245" y="4015656"/>
            <a:ext cx="8441356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200">
                <a:solidFill>
                  <a:srgbClr val="666666"/>
                </a:solidFill>
              </a:defRPr>
            </a:lvl1pPr>
            <a:lvl2pPr marL="456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5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7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50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1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75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37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00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0" name="Rounded Rectangle 9"/>
          <p:cNvSpPr/>
          <p:nvPr/>
        </p:nvSpPr>
        <p:spPr>
          <a:xfrm>
            <a:off x="273246" y="6635270"/>
            <a:ext cx="6598324" cy="152166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defTabSz="912582"/>
            <a:r>
              <a:rPr lang="en-US" sz="600" noProof="1">
                <a:solidFill>
                  <a:prstClr val="black"/>
                </a:solidFill>
              </a:rPr>
              <a:t>This information is confidential and was prepared by Bain &amp; Company solely for the use of our client; it is not to be relied on by any 3rd party without Bain's prior written consent</a:t>
            </a:r>
            <a:endParaRPr lang="fr-FR" sz="600" dirty="0">
              <a:solidFill>
                <a:prstClr val="black"/>
              </a:solidFill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6555697"/>
            <a:ext cx="9144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7" name="Group 18"/>
          <p:cNvGrpSpPr/>
          <p:nvPr/>
        </p:nvGrpSpPr>
        <p:grpSpPr>
          <a:xfrm>
            <a:off x="165892" y="6083146"/>
            <a:ext cx="1197309" cy="381885"/>
            <a:chOff x="660382" y="6407018"/>
            <a:chExt cx="1356535" cy="402216"/>
          </a:xfrm>
        </p:grpSpPr>
        <p:sp>
          <p:nvSpPr>
            <p:cNvPr id="9" name="Rectangle 46"/>
            <p:cNvSpPr>
              <a:spLocks noChangeArrowheads="1"/>
            </p:cNvSpPr>
            <p:nvPr/>
          </p:nvSpPr>
          <p:spPr bwMode="auto">
            <a:xfrm>
              <a:off x="660382" y="6407018"/>
              <a:ext cx="1356535" cy="40221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pPr algn="ctr" defTabSz="819267">
                <a:spcBef>
                  <a:spcPct val="50000"/>
                </a:spcBef>
              </a:pPr>
              <a:r>
                <a:rPr lang="en-US" sz="1900" b="1" dirty="0">
                  <a:solidFill>
                    <a:prstClr val="black"/>
                  </a:solidFill>
                </a:rPr>
                <a:t>DRAFT</a:t>
              </a:r>
            </a:p>
          </p:txBody>
        </p:sp>
        <p:sp>
          <p:nvSpPr>
            <p:cNvPr id="11" name="Line 48"/>
            <p:cNvSpPr>
              <a:spLocks noChangeShapeType="1"/>
            </p:cNvSpPr>
            <p:nvPr/>
          </p:nvSpPr>
          <p:spPr bwMode="auto">
            <a:xfrm>
              <a:off x="806519" y="6793175"/>
              <a:ext cx="1064260" cy="0"/>
            </a:xfrm>
            <a:prstGeom prst="line">
              <a:avLst/>
            </a:prstGeom>
            <a:noFill/>
            <a:ln w="38100" cmpd="dbl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pPr defTabSz="912582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Line 49"/>
            <p:cNvSpPr>
              <a:spLocks noChangeShapeType="1"/>
            </p:cNvSpPr>
            <p:nvPr/>
          </p:nvSpPr>
          <p:spPr bwMode="auto">
            <a:xfrm>
              <a:off x="806519" y="6418142"/>
              <a:ext cx="1064260" cy="0"/>
            </a:xfrm>
            <a:prstGeom prst="line">
              <a:avLst/>
            </a:prstGeom>
            <a:noFill/>
            <a:ln w="38100" cmpd="dbl">
              <a:solidFill>
                <a:schemeClr val="tx1"/>
              </a:solidFill>
              <a:round/>
              <a:headEnd type="none" w="sm" len="sm"/>
              <a:tailEnd type="none" w="sm" len="sm"/>
            </a:ln>
            <a:effectLst/>
          </p:spPr>
          <p:txBody>
            <a:bodyPr lIns="88630" tIns="44316" rIns="88630" bIns="44316">
              <a:spAutoFit/>
            </a:bodyPr>
            <a:lstStyle/>
            <a:p>
              <a:pPr defTabSz="912582"/>
              <a:endParaRPr lang="en-US">
                <a:solidFill>
                  <a:prstClr val="black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07972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Char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331172" y="2697399"/>
            <a:ext cx="4623292" cy="1769128"/>
          </a:xfrm>
        </p:spPr>
        <p:txBody>
          <a:bodyPr/>
          <a:lstStyle>
            <a:lvl1pPr>
              <a:buSzPct val="100000"/>
              <a:defRPr/>
            </a:lvl1pPr>
          </a:lstStyle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  <a:p>
            <a:pPr lvl="0"/>
            <a:r>
              <a:rPr lang="en-US" dirty="0" smtClean="0"/>
              <a:t>First level bullet</a:t>
            </a:r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68408" y="53583"/>
            <a:ext cx="8680777" cy="83443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5551059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6522831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2176" y="6452747"/>
            <a:ext cx="297001" cy="305837"/>
          </a:xfrm>
          <a:prstGeom prst="rect">
            <a:avLst/>
          </a:prstGeom>
          <a:ln/>
        </p:spPr>
        <p:txBody>
          <a:bodyPr lIns="85007" tIns="42505" rIns="85007" bIns="42505"/>
          <a:lstStyle>
            <a:lvl1pPr>
              <a:defRPr/>
            </a:lvl1pPr>
          </a:lstStyle>
          <a:p>
            <a:pPr defTabSz="912582">
              <a:defRPr/>
            </a:pPr>
            <a:fld id="{C1849124-5C67-414B-89F9-CD362E817D2A}" type="slidenum">
              <a:rPr lang="ru-RU" smtClean="0">
                <a:solidFill>
                  <a:prstClr val="black"/>
                </a:solidFill>
              </a:rPr>
              <a:pPr defTabSz="912582"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Rectangle 7"/>
          <p:cNvSpPr>
            <a:spLocks noGrp="1" noChangeArrowheads="1"/>
          </p:cNvSpPr>
          <p:nvPr>
            <p:ph type="ftr" sz="quarter" idx="11"/>
          </p:nvPr>
        </p:nvSpPr>
        <p:spPr>
          <a:xfrm>
            <a:off x="7076218" y="6464784"/>
            <a:ext cx="1340709" cy="304332"/>
          </a:xfrm>
          <a:prstGeom prst="rect">
            <a:avLst/>
          </a:prstGeom>
          <a:ln/>
        </p:spPr>
        <p:txBody>
          <a:bodyPr lIns="85007" tIns="42505" rIns="85007" bIns="42505"/>
          <a:lstStyle>
            <a:lvl2pPr lvl="1">
              <a:defRPr/>
            </a:lvl2pPr>
          </a:lstStyle>
          <a:p>
            <a:pPr marL="456290" lvl="1" defTabSz="912582">
              <a:defRPr/>
            </a:pPr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69082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063"/>
            <a:fld id="{B11C61F1-F6E8-44EF-82BC-FD279B869413}" type="datetime1">
              <a:rPr lang="ru-RU" smtClean="0">
                <a:solidFill>
                  <a:prstClr val="black"/>
                </a:solidFill>
              </a:rPr>
              <a:pPr defTabSz="457063"/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2" y="6356352"/>
            <a:ext cx="2895600" cy="365125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063"/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2" y="6356352"/>
            <a:ext cx="2133600" cy="365125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063"/>
            <a:fld id="{B19B0651-EE4F-4900-A07F-96A6BFA9D0F0}" type="slidenum">
              <a:rPr lang="ru-RU" smtClean="0">
                <a:solidFill>
                  <a:prstClr val="black"/>
                </a:solidFill>
              </a:rPr>
              <a:pPr defTabSz="457063"/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160394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8" indent="0" algn="ctr">
              <a:buNone/>
              <a:defRPr/>
            </a:lvl3pPr>
            <a:lvl4pPr marL="1371326" indent="0" algn="ctr">
              <a:buNone/>
              <a:defRPr/>
            </a:lvl4pPr>
            <a:lvl5pPr marL="1828436" indent="0" algn="ctr">
              <a:buNone/>
              <a:defRPr/>
            </a:lvl5pPr>
            <a:lvl6pPr marL="2285545" indent="0" algn="ctr">
              <a:buNone/>
              <a:defRPr/>
            </a:lvl6pPr>
            <a:lvl7pPr marL="2742654" indent="0" algn="ctr">
              <a:buNone/>
              <a:defRPr/>
            </a:lvl7pPr>
            <a:lvl8pPr marL="3199762" indent="0" algn="ctr">
              <a:buNone/>
              <a:defRPr/>
            </a:lvl8pPr>
            <a:lvl9pPr marL="36568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3D6628-8F0E-42B6-9B16-B44402DBD54F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B565EF-A332-4FE5-A57D-16CDFA4AE6D6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733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843CEA-4A14-4000-9452-4DA9861DB6E6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56FF3F84-7A2A-4C35-BC0E-0CE510F962B0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938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8" indent="0">
              <a:buNone/>
              <a:defRPr sz="1600"/>
            </a:lvl3pPr>
            <a:lvl4pPr marL="1371326" indent="0">
              <a:buNone/>
              <a:defRPr sz="1400"/>
            </a:lvl4pPr>
            <a:lvl5pPr marL="1828436" indent="0">
              <a:buNone/>
              <a:defRPr sz="1400"/>
            </a:lvl5pPr>
            <a:lvl6pPr marL="2285545" indent="0">
              <a:buNone/>
              <a:defRPr sz="1400"/>
            </a:lvl6pPr>
            <a:lvl7pPr marL="2742654" indent="0">
              <a:buNone/>
              <a:defRPr sz="1400"/>
            </a:lvl7pPr>
            <a:lvl8pPr marL="3199762" indent="0">
              <a:buNone/>
              <a:defRPr sz="1400"/>
            </a:lvl8pPr>
            <a:lvl9pPr marL="36568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466F62-C1DF-4C7C-86B4-203290905697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B93E8-34FE-4AC6-8B15-CE1FC58F799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57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FCB7738-457D-4819-8FED-7BC7919C7A8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85E5530-13B3-4CAB-A73B-0FF532AA5404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7195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5E5918-FE6A-4B7D-967C-A52EF45E75F7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3F9204-A115-4DC4-9236-7BB682FAEFD8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7169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4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08054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3E2840-7E21-4D85-9645-51C8BD647C08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0593985-53CF-4720-AAB2-B0910344A0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1276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339E61-4703-4B37-A3E0-C485B2C10B4A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7A0E05F-9B42-4E91-9EE8-04CD49D7F752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556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25B4B92-7BAB-466B-9B19-608B4D211B2B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0A6C8D1-3733-4CB1-8712-CCD6F3718881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0807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36F10C-F6CA-40C6-8A04-48F68A176D1A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92EBF9-E239-420E-A893-0FD219F9823B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0183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271F570-040D-473B-8B7B-0E921C55B93E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D62058-31AB-481F-A183-FF4CF61AD46D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2108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250"/>
            <a:ext cx="2057400" cy="5649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476250"/>
            <a:ext cx="6019800" cy="5649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EC4127-6894-4F03-B978-D2B04D06C0EE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E38489-84A0-456D-B383-640A42074D4C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329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7"/>
          </p:nvPr>
        </p:nvSpPr>
        <p:spPr>
          <a:xfrm>
            <a:off x="695327" y="5978527"/>
            <a:ext cx="2308225" cy="609600"/>
          </a:xfrm>
          <a:noFill/>
        </p:spPr>
        <p:txBody>
          <a:bodyPr anchor="ctr"/>
          <a:lstStyle>
            <a:lvl1pPr algn="ctr">
              <a:buNone/>
              <a:defRPr baseline="0"/>
            </a:lvl1pPr>
          </a:lstStyle>
          <a:p>
            <a:pPr lvl="0"/>
            <a:r>
              <a:rPr lang="ru-RU" noProof="0" smtClean="0"/>
              <a:t>Вставка рисунка</a:t>
            </a:r>
            <a:endParaRPr lang="en-US" noProof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040A49-5609-4670-B1A8-BC078368ECA6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D3CE3-80C4-49B8-8F8F-E0C0DA1E167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50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_NO 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7898" y="676946"/>
            <a:ext cx="7986197" cy="839119"/>
          </a:xfrm>
        </p:spPr>
        <p:txBody>
          <a:bodyPr/>
          <a:lstStyle>
            <a:lvl1pPr>
              <a:defRPr sz="2600" baseline="0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6"/>
          </p:nvPr>
        </p:nvSpPr>
        <p:spPr>
          <a:xfrm>
            <a:off x="687388" y="1597025"/>
            <a:ext cx="7986712" cy="42799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86567D-FC5F-451A-ACA4-8409BEC9CAF1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99B903-B287-4705-9A83-7EAFCCAC29CB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7488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09" indent="0" algn="ctr">
              <a:buNone/>
              <a:defRPr/>
            </a:lvl2pPr>
            <a:lvl3pPr marL="914218" indent="0" algn="ctr">
              <a:buNone/>
              <a:defRPr/>
            </a:lvl3pPr>
            <a:lvl4pPr marL="1371326" indent="0" algn="ctr">
              <a:buNone/>
              <a:defRPr/>
            </a:lvl4pPr>
            <a:lvl5pPr marL="1828436" indent="0" algn="ctr">
              <a:buNone/>
              <a:defRPr/>
            </a:lvl5pPr>
            <a:lvl6pPr marL="2285545" indent="0" algn="ctr">
              <a:buNone/>
              <a:defRPr/>
            </a:lvl6pPr>
            <a:lvl7pPr marL="2742654" indent="0" algn="ctr">
              <a:buNone/>
              <a:defRPr/>
            </a:lvl7pPr>
            <a:lvl8pPr marL="3199762" indent="0" algn="ctr">
              <a:buNone/>
              <a:defRPr/>
            </a:lvl8pPr>
            <a:lvl9pPr marL="365687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CE70E0-EC1B-434A-B755-5D714C995CA7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4D47B72F-1BD9-470F-93C8-A3198E3888D1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9792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25A0E84-DC7B-42A1-8A85-74C1BB150F76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40B2C317-DB0E-4223-BA59-2D8F88D95CC0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92996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7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7" y="143511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864" indent="0">
              <a:buNone/>
              <a:defRPr sz="1200"/>
            </a:lvl2pPr>
            <a:lvl3pPr marL="913726" indent="0">
              <a:buNone/>
              <a:defRPr sz="1000"/>
            </a:lvl3pPr>
            <a:lvl4pPr marL="1370588" indent="0">
              <a:buNone/>
              <a:defRPr sz="900"/>
            </a:lvl4pPr>
            <a:lvl5pPr marL="1827452" indent="0">
              <a:buNone/>
              <a:defRPr sz="900"/>
            </a:lvl5pPr>
            <a:lvl6pPr marL="2284313" indent="0">
              <a:buNone/>
              <a:defRPr sz="900"/>
            </a:lvl6pPr>
            <a:lvl7pPr marL="2741176" indent="0">
              <a:buNone/>
              <a:defRPr sz="900"/>
            </a:lvl7pPr>
            <a:lvl8pPr marL="3198042" indent="0">
              <a:buNone/>
              <a:defRPr sz="900"/>
            </a:lvl8pPr>
            <a:lvl9pPr marL="365490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61618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09" indent="0">
              <a:buNone/>
              <a:defRPr sz="1800"/>
            </a:lvl2pPr>
            <a:lvl3pPr marL="914218" indent="0">
              <a:buNone/>
              <a:defRPr sz="1600"/>
            </a:lvl3pPr>
            <a:lvl4pPr marL="1371326" indent="0">
              <a:buNone/>
              <a:defRPr sz="1400"/>
            </a:lvl4pPr>
            <a:lvl5pPr marL="1828436" indent="0">
              <a:buNone/>
              <a:defRPr sz="1400"/>
            </a:lvl5pPr>
            <a:lvl6pPr marL="2285545" indent="0">
              <a:buNone/>
              <a:defRPr sz="1400"/>
            </a:lvl6pPr>
            <a:lvl7pPr marL="2742654" indent="0">
              <a:buNone/>
              <a:defRPr sz="1400"/>
            </a:lvl7pPr>
            <a:lvl8pPr marL="3199762" indent="0">
              <a:buNone/>
              <a:defRPr sz="1400"/>
            </a:lvl8pPr>
            <a:lvl9pPr marL="365687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229A539-1E6D-48E5-95FC-5F9D956EA296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D62C777-0271-4370-AD1C-FFA1B52A5063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2828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125540"/>
            <a:ext cx="4038600" cy="50006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0814FD-A2DC-49AF-AE3D-4A60483033F4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29F21D14-B3FF-45F1-8C98-CD6E526C4BB2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7056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71BF8FF-DB9D-4A0E-87A8-B11FA30AAFCD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13A2E637-C3D8-44ED-9600-FD7B891A796E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95339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645D38-9C55-48BF-A15D-420E29842C13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-1764704" y="6619875"/>
            <a:ext cx="2133600" cy="476250"/>
          </a:xfrm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058B2C81-AA34-458A-A22E-7C6DAB33CA94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3110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464257-BB56-456E-A1A9-11DE7201CFB4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25582" y="6619875"/>
            <a:ext cx="2133600" cy="476250"/>
          </a:xfrm>
          <a:ln/>
        </p:spPr>
        <p:txBody>
          <a:bodyPr/>
          <a:lstStyle>
            <a:lvl1pPr>
              <a:defRPr sz="1100"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2418E6A-17B8-49D0-8954-D32A86CE06C1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2888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4CD3B7-E819-4C72-A936-55D702615568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47ECB454-FC76-4A46-8735-4CDA47A6B8C0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4047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0CA75B3-5225-4111-B310-07567E45FB7E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5CCE5E53-D91C-4A37-B67F-5F92AD770155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6358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FE7803-E16B-4EF7-9B36-06B778813B30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6049BF17-9B47-454A-9986-77D49A068EFE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5491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476250"/>
            <a:ext cx="2057400" cy="5649913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476250"/>
            <a:ext cx="6019800" cy="5649913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FF432D-393B-432E-9C15-10155E641982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BF218353-BA0E-4F67-B1B9-42176C9CB761}" type="slidenum">
              <a:rPr lang="ru-RU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4435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3529F4-44D8-4338-B18D-F58DA90184E4}" type="datetime1">
              <a:rPr lang="ru-RU" smtClean="0"/>
              <a:t>06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32525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80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864" indent="0">
              <a:buNone/>
              <a:defRPr sz="2800"/>
            </a:lvl2pPr>
            <a:lvl3pPr marL="913726" indent="0">
              <a:buNone/>
              <a:defRPr sz="2400"/>
            </a:lvl3pPr>
            <a:lvl4pPr marL="1370588" indent="0">
              <a:buNone/>
              <a:defRPr sz="2000"/>
            </a:lvl4pPr>
            <a:lvl5pPr marL="1827452" indent="0">
              <a:buNone/>
              <a:defRPr sz="2000"/>
            </a:lvl5pPr>
            <a:lvl6pPr marL="2284313" indent="0">
              <a:buNone/>
              <a:defRPr sz="2000"/>
            </a:lvl6pPr>
            <a:lvl7pPr marL="2741176" indent="0">
              <a:buNone/>
              <a:defRPr sz="2000"/>
            </a:lvl7pPr>
            <a:lvl8pPr marL="3198042" indent="0">
              <a:buNone/>
              <a:defRPr sz="2000"/>
            </a:lvl8pPr>
            <a:lvl9pPr marL="365490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864" indent="0">
              <a:buNone/>
              <a:defRPr sz="1200"/>
            </a:lvl2pPr>
            <a:lvl3pPr marL="913726" indent="0">
              <a:buNone/>
              <a:defRPr sz="1000"/>
            </a:lvl3pPr>
            <a:lvl4pPr marL="1370588" indent="0">
              <a:buNone/>
              <a:defRPr sz="900"/>
            </a:lvl4pPr>
            <a:lvl5pPr marL="1827452" indent="0">
              <a:buNone/>
              <a:defRPr sz="900"/>
            </a:lvl5pPr>
            <a:lvl6pPr marL="2284313" indent="0">
              <a:buNone/>
              <a:defRPr sz="900"/>
            </a:lvl6pPr>
            <a:lvl7pPr marL="2741176" indent="0">
              <a:buNone/>
              <a:defRPr sz="900"/>
            </a:lvl7pPr>
            <a:lvl8pPr marL="3198042" indent="0">
              <a:buNone/>
              <a:defRPr sz="900"/>
            </a:lvl8pPr>
            <a:lvl9pPr marL="365490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" name="Номер слайда 5"/>
          <p:cNvSpPr txBox="1">
            <a:spLocks/>
          </p:cNvSpPr>
          <p:nvPr userDrawn="1"/>
        </p:nvSpPr>
        <p:spPr bwMode="auto">
          <a:xfrm>
            <a:off x="7012782" y="661272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8047B6FE-315E-4DAE-BA42-B805F0E538A7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375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56BB8F-6F24-472B-8804-B78B4C3967FF}" type="datetime1">
              <a:rPr lang="ru-RU" smtClean="0"/>
              <a:t>06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37104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5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1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3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4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5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6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D63C62-6308-42D9-AD7C-077EDD8ECC3E}" type="datetime1">
              <a:rPr lang="ru-RU" smtClean="0"/>
              <a:t>06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0860745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8BEA99-84AA-46EF-BB8F-B4BE3594FEDB}" type="datetime1">
              <a:rPr lang="ru-RU" smtClean="0"/>
              <a:t>06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583381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7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09" indent="0">
              <a:buNone/>
              <a:defRPr sz="2000" b="1"/>
            </a:lvl2pPr>
            <a:lvl3pPr marL="914218" indent="0">
              <a:buNone/>
              <a:defRPr sz="1800" b="1"/>
            </a:lvl3pPr>
            <a:lvl4pPr marL="1371326" indent="0">
              <a:buNone/>
              <a:defRPr sz="1600" b="1"/>
            </a:lvl4pPr>
            <a:lvl5pPr marL="1828436" indent="0">
              <a:buNone/>
              <a:defRPr sz="1600" b="1"/>
            </a:lvl5pPr>
            <a:lvl6pPr marL="2285545" indent="0">
              <a:buNone/>
              <a:defRPr sz="1600" b="1"/>
            </a:lvl6pPr>
            <a:lvl7pPr marL="2742654" indent="0">
              <a:buNone/>
              <a:defRPr sz="1600" b="1"/>
            </a:lvl7pPr>
            <a:lvl8pPr marL="3199762" indent="0">
              <a:buNone/>
              <a:defRPr sz="1600" b="1"/>
            </a:lvl8pPr>
            <a:lvl9pPr marL="365687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7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12D8C2-9B25-4161-9742-15C9C0C9933A}" type="datetime1">
              <a:rPr lang="ru-RU" smtClean="0"/>
              <a:t>06.10.2016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910971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741FBD-ABFA-4A64-B627-615C08BBF647}" type="datetime1">
              <a:rPr lang="ru-RU" smtClean="0"/>
              <a:t>06.10.2016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385990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8FEEA0-E761-4017-9A88-7F8FE433B0FA}" type="datetime1">
              <a:rPr lang="ru-RU" smtClean="0"/>
              <a:t>06.10.2016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69112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36753D-A4FC-4554-9C70-978170EC24AE}" type="datetime1">
              <a:rPr lang="ru-RU" smtClean="0"/>
              <a:t>06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2508826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09" indent="0">
              <a:buNone/>
              <a:defRPr sz="2800"/>
            </a:lvl2pPr>
            <a:lvl3pPr marL="914218" indent="0">
              <a:buNone/>
              <a:defRPr sz="2400"/>
            </a:lvl3pPr>
            <a:lvl4pPr marL="1371326" indent="0">
              <a:buNone/>
              <a:defRPr sz="2000"/>
            </a:lvl4pPr>
            <a:lvl5pPr marL="1828436" indent="0">
              <a:buNone/>
              <a:defRPr sz="2000"/>
            </a:lvl5pPr>
            <a:lvl6pPr marL="2285545" indent="0">
              <a:buNone/>
              <a:defRPr sz="2000"/>
            </a:lvl6pPr>
            <a:lvl7pPr marL="2742654" indent="0">
              <a:buNone/>
              <a:defRPr sz="2000"/>
            </a:lvl7pPr>
            <a:lvl8pPr marL="3199762" indent="0">
              <a:buNone/>
              <a:defRPr sz="2000"/>
            </a:lvl8pPr>
            <a:lvl9pPr marL="3656872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09" indent="0">
              <a:buNone/>
              <a:defRPr sz="1200"/>
            </a:lvl2pPr>
            <a:lvl3pPr marL="914218" indent="0">
              <a:buNone/>
              <a:defRPr sz="1000"/>
            </a:lvl3pPr>
            <a:lvl4pPr marL="1371326" indent="0">
              <a:buNone/>
              <a:defRPr sz="900"/>
            </a:lvl4pPr>
            <a:lvl5pPr marL="1828436" indent="0">
              <a:buNone/>
              <a:defRPr sz="900"/>
            </a:lvl5pPr>
            <a:lvl6pPr marL="2285545" indent="0">
              <a:buNone/>
              <a:defRPr sz="900"/>
            </a:lvl6pPr>
            <a:lvl7pPr marL="2742654" indent="0">
              <a:buNone/>
              <a:defRPr sz="900"/>
            </a:lvl7pPr>
            <a:lvl8pPr marL="3199762" indent="0">
              <a:buNone/>
              <a:defRPr sz="900"/>
            </a:lvl8pPr>
            <a:lvl9pPr marL="365687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220AEC-5E00-4079-86B0-2FAACE817C3C}" type="datetime1">
              <a:rPr lang="ru-RU" smtClean="0"/>
              <a:t>06.10.2016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3978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F29689-A252-49CE-9EDF-5AC3199393A1}" type="datetime1">
              <a:rPr lang="ru-RU" smtClean="0"/>
              <a:t>06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160106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357009-1776-4FB2-A988-EEA4DC3E5AAF}" type="datetime1">
              <a:rPr lang="ru-RU" smtClean="0"/>
              <a:t>06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061406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25.xml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5" Type="http://schemas.openxmlformats.org/officeDocument/2006/relationships/slideLayout" Target="../slideLayouts/slideLayout127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32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37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tags" Target="../tags/tag4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3" Type="http://schemas.openxmlformats.org/officeDocument/2006/relationships/slideLayout" Target="../slideLayouts/slideLayout149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2" Type="http://schemas.openxmlformats.org/officeDocument/2006/relationships/slideLayout" Target="../slideLayouts/slideLayout148.x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5" Type="http://schemas.openxmlformats.org/officeDocument/2006/relationships/slideLayout" Target="../slideLayouts/slideLayout15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56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slideLayout" Target="../slideLayouts/slideLayout170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8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73.xml"/><Relationship Id="rId7" Type="http://schemas.openxmlformats.org/officeDocument/2006/relationships/slideLayout" Target="../slideLayouts/slideLayout177.xml"/><Relationship Id="rId12" Type="http://schemas.openxmlformats.org/officeDocument/2006/relationships/slideLayout" Target="../slideLayouts/slideLayout182.xml"/><Relationship Id="rId2" Type="http://schemas.openxmlformats.org/officeDocument/2006/relationships/slideLayout" Target="../slideLayouts/slideLayout172.xml"/><Relationship Id="rId1" Type="http://schemas.openxmlformats.org/officeDocument/2006/relationships/slideLayout" Target="../slideLayouts/slideLayout171.xml"/><Relationship Id="rId6" Type="http://schemas.openxmlformats.org/officeDocument/2006/relationships/slideLayout" Target="../slideLayouts/slideLayout176.xml"/><Relationship Id="rId11" Type="http://schemas.openxmlformats.org/officeDocument/2006/relationships/slideLayout" Target="../slideLayouts/slideLayout181.xml"/><Relationship Id="rId5" Type="http://schemas.openxmlformats.org/officeDocument/2006/relationships/slideLayout" Target="../slideLayouts/slideLayout175.xml"/><Relationship Id="rId10" Type="http://schemas.openxmlformats.org/officeDocument/2006/relationships/slideLayout" Target="../slideLayouts/slideLayout180.xml"/><Relationship Id="rId4" Type="http://schemas.openxmlformats.org/officeDocument/2006/relationships/slideLayout" Target="../slideLayouts/slideLayout174.xml"/><Relationship Id="rId9" Type="http://schemas.openxmlformats.org/officeDocument/2006/relationships/slideLayout" Target="../slideLayouts/slideLayout179.xml"/><Relationship Id="rId14" Type="http://schemas.openxmlformats.org/officeDocument/2006/relationships/image" Target="../media/image1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2" Type="http://schemas.openxmlformats.org/officeDocument/2006/relationships/slideLayout" Target="../slideLayouts/slideLayout42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5.xml"/><Relationship Id="rId16" Type="http://schemas.openxmlformats.org/officeDocument/2006/relationships/image" Target="../media/image5.png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5" Type="http://schemas.openxmlformats.org/officeDocument/2006/relationships/slideLayout" Target="../slideLayouts/slideLayout58.xml"/><Relationship Id="rId15" Type="http://schemas.openxmlformats.org/officeDocument/2006/relationships/image" Target="../media/image4.png"/><Relationship Id="rId10" Type="http://schemas.openxmlformats.org/officeDocument/2006/relationships/slideLayout" Target="../slideLayouts/slideLayout63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tags" Target="../tags/tag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80.xml"/><Relationship Id="rId7" Type="http://schemas.openxmlformats.org/officeDocument/2006/relationships/slideLayout" Target="../slideLayouts/slideLayout84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5" Type="http://schemas.openxmlformats.org/officeDocument/2006/relationships/slideLayout" Target="../slideLayouts/slideLayout82.xml"/><Relationship Id="rId10" Type="http://schemas.openxmlformats.org/officeDocument/2006/relationships/slideLayout" Target="../slideLayouts/slideLayout87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6" Type="http://schemas.openxmlformats.org/officeDocument/2006/relationships/image" Target="../media/image10.png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9.png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resa3"/>
          <p:cNvPicPr>
            <a:picLocks noChangeAspect="1" noChangeArrowheads="1"/>
          </p:cNvPicPr>
          <p:nvPr userDrawn="1"/>
        </p:nvPicPr>
        <p:blipFill>
          <a:blip r:embed="rId16"/>
          <a:srcRect/>
          <a:stretch>
            <a:fillRect/>
          </a:stretch>
        </p:blipFill>
        <p:spPr bwMode="auto">
          <a:xfrm>
            <a:off x="0" y="15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0"/>
            <a:ext cx="8075612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2" tIns="45687" rIns="91372" bIns="45687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48"/>
            <a:ext cx="8229600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72" tIns="45687" rIns="91372" bIns="45687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Скругленный прямоугольник 7"/>
          <p:cNvSpPr/>
          <p:nvPr userDrawn="1"/>
        </p:nvSpPr>
        <p:spPr>
          <a:xfrm>
            <a:off x="4763" y="1016013"/>
            <a:ext cx="9144000" cy="73025"/>
          </a:xfrm>
          <a:prstGeom prst="roundRect">
            <a:avLst/>
          </a:prstGeom>
          <a:solidFill>
            <a:srgbClr val="339933"/>
          </a:solidFill>
          <a:ln w="15875">
            <a:solidFill>
              <a:srgbClr val="33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/>
          <a:lstStyle/>
          <a:p>
            <a:pPr defTabSz="913559">
              <a:defRPr/>
            </a:pPr>
            <a:endParaRPr lang="ru-RU" b="1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4510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5pPr>
      <a:lvl6pPr marL="456864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3726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0588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7452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647" indent="-342647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402" indent="-285540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2158" indent="-228432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9021" indent="-228432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5885" indent="-228432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2746" indent="-22843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69609" indent="-22843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6473" indent="-22843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3335" indent="-22843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64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26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88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52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313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76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042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904" algn="l" defTabSz="91372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576064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D7AD2A-5B3F-401D-A446-890D83097B4A}" type="datetime1">
              <a:rPr lang="ru-RU" smtClean="0"/>
              <a:t>06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2" y="6356352"/>
            <a:ext cx="2895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2" y="6356352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40108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21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2" indent="-342832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defTabSz="9142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3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2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90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9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8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7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resa3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0"/>
            <a:ext cx="8075612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40"/>
            <a:ext cx="8229600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9D8C573-3472-441C-805E-6BD34FB3D7D5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764704" y="6597352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2CE974-DCE6-4129-8EA7-D12A3E7A910B}" type="slidenum">
              <a:rPr 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44234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5pPr>
      <a:lvl6pPr marL="45710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42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132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843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832" indent="-342832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rtl="0" eaLnBrk="1" fontAlgn="base" hangingPunct="1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2773" indent="-228555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9882" indent="-228555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6990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099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20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831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5427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93509" y="385646"/>
            <a:ext cx="7366842" cy="4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6951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281354" y="1287062"/>
            <a:ext cx="8581293" cy="5095600"/>
          </a:xfrm>
          <a:prstGeom prst="rect">
            <a:avLst/>
          </a:prstGeom>
        </p:spPr>
        <p:txBody>
          <a:bodyPr vert="horz" lIns="85027" tIns="42513" rIns="85027" bIns="42513" rtlCol="0" anchor="t" anchorCtr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169486" y="6407391"/>
            <a:ext cx="6145498" cy="14174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71236" indent="-171236" defTabSz="819267" fontAlgn="t"/>
            <a:endParaRPr lang="en-CA" sz="900" dirty="0">
              <a:solidFill>
                <a:prstClr val="black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4"/>
            </p:custDataLst>
          </p:nvPr>
        </p:nvSpPr>
        <p:spPr>
          <a:xfrm>
            <a:off x="1120934" y="120599"/>
            <a:ext cx="112093" cy="12058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582"/>
            <a:endParaRPr lang="en-US" sz="1900" dirty="0">
              <a:solidFill>
                <a:prstClr val="black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8155779" y="67533"/>
            <a:ext cx="901303" cy="936734"/>
            <a:chOff x="5681844" y="2979859"/>
            <a:chExt cx="3422510" cy="3283435"/>
          </a:xfrm>
        </p:grpSpPr>
        <p:sp>
          <p:nvSpPr>
            <p:cNvPr id="4" name="Freeform 3"/>
            <p:cNvSpPr/>
            <p:nvPr userDrawn="1"/>
          </p:nvSpPr>
          <p:spPr>
            <a:xfrm>
              <a:off x="5681844" y="3849730"/>
              <a:ext cx="3280998" cy="2413564"/>
            </a:xfrm>
            <a:custGeom>
              <a:avLst/>
              <a:gdLst>
                <a:gd name="connsiteX0" fmla="*/ 1991579 w 3280998"/>
                <a:gd name="connsiteY0" fmla="*/ 6664 h 2413564"/>
                <a:gd name="connsiteX1" fmla="*/ 1454107 w 3280998"/>
                <a:gd name="connsiteY1" fmla="*/ 13644 h 2413564"/>
                <a:gd name="connsiteX2" fmla="*/ 902675 w 3280998"/>
                <a:gd name="connsiteY2" fmla="*/ 111366 h 2413564"/>
                <a:gd name="connsiteX3" fmla="*/ 351243 w 3280998"/>
                <a:gd name="connsiteY3" fmla="*/ 334731 h 2413564"/>
                <a:gd name="connsiteX4" fmla="*/ 120898 w 3280998"/>
                <a:gd name="connsiteY4" fmla="*/ 565076 h 2413564"/>
                <a:gd name="connsiteX5" fmla="*/ 23176 w 3280998"/>
                <a:gd name="connsiteY5" fmla="*/ 851263 h 2413564"/>
                <a:gd name="connsiteX6" fmla="*/ 16196 w 3280998"/>
                <a:gd name="connsiteY6" fmla="*/ 1402695 h 2413564"/>
                <a:gd name="connsiteX7" fmla="*/ 211640 w 3280998"/>
                <a:gd name="connsiteY7" fmla="*/ 1842444 h 2413564"/>
                <a:gd name="connsiteX8" fmla="*/ 553668 w 3280998"/>
                <a:gd name="connsiteY8" fmla="*/ 2156551 h 2413564"/>
                <a:gd name="connsiteX9" fmla="*/ 1014358 w 3280998"/>
                <a:gd name="connsiteY9" fmla="*/ 2365956 h 2413564"/>
                <a:gd name="connsiteX10" fmla="*/ 1761234 w 3280998"/>
                <a:gd name="connsiteY10" fmla="*/ 2407837 h 2413564"/>
                <a:gd name="connsiteX11" fmla="*/ 2410388 w 3280998"/>
                <a:gd name="connsiteY11" fmla="*/ 2275214 h 2413564"/>
                <a:gd name="connsiteX12" fmla="*/ 2836177 w 3280998"/>
                <a:gd name="connsiteY12" fmla="*/ 2051849 h 2413564"/>
                <a:gd name="connsiteX13" fmla="*/ 3136324 w 3280998"/>
                <a:gd name="connsiteY13" fmla="*/ 1730762 h 2413564"/>
                <a:gd name="connsiteX14" fmla="*/ 3275927 w 3280998"/>
                <a:gd name="connsiteY14" fmla="*/ 1353834 h 2413564"/>
                <a:gd name="connsiteX15" fmla="*/ 3213106 w 3280998"/>
                <a:gd name="connsiteY15" fmla="*/ 774481 h 2413564"/>
                <a:gd name="connsiteX16" fmla="*/ 2871078 w 3280998"/>
                <a:gd name="connsiteY16" fmla="*/ 341711 h 2413564"/>
                <a:gd name="connsiteX17" fmla="*/ 2291726 w 3280998"/>
                <a:gd name="connsiteY17" fmla="*/ 69485 h 2413564"/>
                <a:gd name="connsiteX18" fmla="*/ 1991579 w 3280998"/>
                <a:gd name="connsiteY18" fmla="*/ 6664 h 241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80998" h="2413564">
                  <a:moveTo>
                    <a:pt x="1991579" y="6664"/>
                  </a:moveTo>
                  <a:cubicBezTo>
                    <a:pt x="1851976" y="-2643"/>
                    <a:pt x="1635591" y="-3806"/>
                    <a:pt x="1454107" y="13644"/>
                  </a:cubicBezTo>
                  <a:cubicBezTo>
                    <a:pt x="1272623" y="31094"/>
                    <a:pt x="1086486" y="57852"/>
                    <a:pt x="902675" y="111366"/>
                  </a:cubicBezTo>
                  <a:cubicBezTo>
                    <a:pt x="718864" y="164881"/>
                    <a:pt x="481539" y="259113"/>
                    <a:pt x="351243" y="334731"/>
                  </a:cubicBezTo>
                  <a:cubicBezTo>
                    <a:pt x="220947" y="410349"/>
                    <a:pt x="175576" y="478987"/>
                    <a:pt x="120898" y="565076"/>
                  </a:cubicBezTo>
                  <a:cubicBezTo>
                    <a:pt x="66220" y="651165"/>
                    <a:pt x="40626" y="711660"/>
                    <a:pt x="23176" y="851263"/>
                  </a:cubicBezTo>
                  <a:cubicBezTo>
                    <a:pt x="5726" y="990866"/>
                    <a:pt x="-15215" y="1237498"/>
                    <a:pt x="16196" y="1402695"/>
                  </a:cubicBezTo>
                  <a:cubicBezTo>
                    <a:pt x="47607" y="1567892"/>
                    <a:pt x="122061" y="1716801"/>
                    <a:pt x="211640" y="1842444"/>
                  </a:cubicBezTo>
                  <a:cubicBezTo>
                    <a:pt x="301219" y="1968087"/>
                    <a:pt x="419882" y="2069299"/>
                    <a:pt x="553668" y="2156551"/>
                  </a:cubicBezTo>
                  <a:cubicBezTo>
                    <a:pt x="687454" y="2243803"/>
                    <a:pt x="813097" y="2324075"/>
                    <a:pt x="1014358" y="2365956"/>
                  </a:cubicBezTo>
                  <a:cubicBezTo>
                    <a:pt x="1215619" y="2407837"/>
                    <a:pt x="1528562" y="2422961"/>
                    <a:pt x="1761234" y="2407837"/>
                  </a:cubicBezTo>
                  <a:cubicBezTo>
                    <a:pt x="1993906" y="2392713"/>
                    <a:pt x="2231231" y="2334545"/>
                    <a:pt x="2410388" y="2275214"/>
                  </a:cubicBezTo>
                  <a:cubicBezTo>
                    <a:pt x="2589545" y="2215883"/>
                    <a:pt x="2715188" y="2142591"/>
                    <a:pt x="2836177" y="2051849"/>
                  </a:cubicBezTo>
                  <a:cubicBezTo>
                    <a:pt x="2957166" y="1961107"/>
                    <a:pt x="3063032" y="1847098"/>
                    <a:pt x="3136324" y="1730762"/>
                  </a:cubicBezTo>
                  <a:cubicBezTo>
                    <a:pt x="3209616" y="1614426"/>
                    <a:pt x="3263130" y="1513214"/>
                    <a:pt x="3275927" y="1353834"/>
                  </a:cubicBezTo>
                  <a:cubicBezTo>
                    <a:pt x="3288724" y="1194454"/>
                    <a:pt x="3280581" y="943168"/>
                    <a:pt x="3213106" y="774481"/>
                  </a:cubicBezTo>
                  <a:cubicBezTo>
                    <a:pt x="3145631" y="605794"/>
                    <a:pt x="3024641" y="459210"/>
                    <a:pt x="2871078" y="341711"/>
                  </a:cubicBezTo>
                  <a:cubicBezTo>
                    <a:pt x="2717515" y="224212"/>
                    <a:pt x="2440636" y="124163"/>
                    <a:pt x="2291726" y="69485"/>
                  </a:cubicBezTo>
                  <a:cubicBezTo>
                    <a:pt x="2142816" y="14807"/>
                    <a:pt x="2131182" y="15971"/>
                    <a:pt x="1991579" y="6664"/>
                  </a:cubicBezTo>
                  <a:close/>
                </a:path>
              </a:pathLst>
            </a:custGeom>
            <a:gradFill>
              <a:gsLst>
                <a:gs pos="7000">
                  <a:srgbClr val="F8B300"/>
                </a:gs>
                <a:gs pos="94000">
                  <a:srgbClr val="EE7E0B"/>
                </a:gs>
              </a:gsLst>
              <a:lin ang="4200000" scaled="0"/>
            </a:gra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5" name="Freeform 4"/>
            <p:cNvSpPr/>
            <p:nvPr userDrawn="1"/>
          </p:nvSpPr>
          <p:spPr>
            <a:xfrm>
              <a:off x="5953426" y="3465530"/>
              <a:ext cx="2726754" cy="2363357"/>
            </a:xfrm>
            <a:custGeom>
              <a:avLst/>
              <a:gdLst>
                <a:gd name="connsiteX0" fmla="*/ 1768858 w 2726754"/>
                <a:gd name="connsiteY0" fmla="*/ 55283 h 2369803"/>
                <a:gd name="connsiteX1" fmla="*/ 1761878 w 2726754"/>
                <a:gd name="connsiteY1" fmla="*/ 334489 h 2369803"/>
                <a:gd name="connsiteX2" fmla="*/ 1678116 w 2726754"/>
                <a:gd name="connsiteY2" fmla="*/ 536913 h 2369803"/>
                <a:gd name="connsiteX3" fmla="*/ 1531533 w 2726754"/>
                <a:gd name="connsiteY3" fmla="*/ 634635 h 2369803"/>
                <a:gd name="connsiteX4" fmla="*/ 1217426 w 2726754"/>
                <a:gd name="connsiteY4" fmla="*/ 613695 h 2369803"/>
                <a:gd name="connsiteX5" fmla="*/ 959160 w 2726754"/>
                <a:gd name="connsiteY5" fmla="*/ 571814 h 2369803"/>
                <a:gd name="connsiteX6" fmla="*/ 631093 w 2726754"/>
                <a:gd name="connsiteY6" fmla="*/ 606715 h 2369803"/>
                <a:gd name="connsiteX7" fmla="*/ 379808 w 2726754"/>
                <a:gd name="connsiteY7" fmla="*/ 690477 h 2369803"/>
                <a:gd name="connsiteX8" fmla="*/ 177383 w 2726754"/>
                <a:gd name="connsiteY8" fmla="*/ 844040 h 2369803"/>
                <a:gd name="connsiteX9" fmla="*/ 58721 w 2726754"/>
                <a:gd name="connsiteY9" fmla="*/ 1102306 h 2369803"/>
                <a:gd name="connsiteX10" fmla="*/ 2879 w 2726754"/>
                <a:gd name="connsiteY10" fmla="*/ 1416412 h 2369803"/>
                <a:gd name="connsiteX11" fmla="*/ 23820 w 2726754"/>
                <a:gd name="connsiteY11" fmla="*/ 1695619 h 2369803"/>
                <a:gd name="connsiteX12" fmla="*/ 156443 w 2726754"/>
                <a:gd name="connsiteY12" fmla="*/ 1995765 h 2369803"/>
                <a:gd name="connsiteX13" fmla="*/ 351887 w 2726754"/>
                <a:gd name="connsiteY13" fmla="*/ 2240070 h 2369803"/>
                <a:gd name="connsiteX14" fmla="*/ 784657 w 2726754"/>
                <a:gd name="connsiteY14" fmla="*/ 2365713 h 2369803"/>
                <a:gd name="connsiteX15" fmla="*/ 1503612 w 2726754"/>
                <a:gd name="connsiteY15" fmla="*/ 2330812 h 2369803"/>
                <a:gd name="connsiteX16" fmla="*/ 2180687 w 2726754"/>
                <a:gd name="connsiteY16" fmla="*/ 2247051 h 2369803"/>
                <a:gd name="connsiteX17" fmla="*/ 2578556 w 2726754"/>
                <a:gd name="connsiteY17" fmla="*/ 2044626 h 2369803"/>
                <a:gd name="connsiteX18" fmla="*/ 2725139 w 2726754"/>
                <a:gd name="connsiteY18" fmla="*/ 1639777 h 2369803"/>
                <a:gd name="connsiteX19" fmla="*/ 2641377 w 2726754"/>
                <a:gd name="connsiteY19" fmla="*/ 1165127 h 2369803"/>
                <a:gd name="connsiteX20" fmla="*/ 2411032 w 2726754"/>
                <a:gd name="connsiteY20" fmla="*/ 899881 h 2369803"/>
                <a:gd name="connsiteX21" fmla="*/ 2159747 w 2726754"/>
                <a:gd name="connsiteY21" fmla="*/ 774238 h 2369803"/>
                <a:gd name="connsiteX22" fmla="*/ 1950342 w 2726754"/>
                <a:gd name="connsiteY22" fmla="*/ 508993 h 2369803"/>
                <a:gd name="connsiteX23" fmla="*/ 1817719 w 2726754"/>
                <a:gd name="connsiteY23" fmla="*/ 41322 h 2369803"/>
                <a:gd name="connsiteX24" fmla="*/ 1768858 w 2726754"/>
                <a:gd name="connsiteY24" fmla="*/ 55283 h 2369803"/>
                <a:gd name="connsiteX0" fmla="*/ 1742664 w 2726754"/>
                <a:gd name="connsiteY0" fmla="*/ 43329 h 2381662"/>
                <a:gd name="connsiteX1" fmla="*/ 1761878 w 2726754"/>
                <a:gd name="connsiteY1" fmla="*/ 346348 h 2381662"/>
                <a:gd name="connsiteX2" fmla="*/ 1678116 w 2726754"/>
                <a:gd name="connsiteY2" fmla="*/ 548772 h 2381662"/>
                <a:gd name="connsiteX3" fmla="*/ 1531533 w 2726754"/>
                <a:gd name="connsiteY3" fmla="*/ 646494 h 2381662"/>
                <a:gd name="connsiteX4" fmla="*/ 1217426 w 2726754"/>
                <a:gd name="connsiteY4" fmla="*/ 625554 h 2381662"/>
                <a:gd name="connsiteX5" fmla="*/ 959160 w 2726754"/>
                <a:gd name="connsiteY5" fmla="*/ 583673 h 2381662"/>
                <a:gd name="connsiteX6" fmla="*/ 631093 w 2726754"/>
                <a:gd name="connsiteY6" fmla="*/ 618574 h 2381662"/>
                <a:gd name="connsiteX7" fmla="*/ 379808 w 2726754"/>
                <a:gd name="connsiteY7" fmla="*/ 702336 h 2381662"/>
                <a:gd name="connsiteX8" fmla="*/ 177383 w 2726754"/>
                <a:gd name="connsiteY8" fmla="*/ 855899 h 2381662"/>
                <a:gd name="connsiteX9" fmla="*/ 58721 w 2726754"/>
                <a:gd name="connsiteY9" fmla="*/ 1114165 h 2381662"/>
                <a:gd name="connsiteX10" fmla="*/ 2879 w 2726754"/>
                <a:gd name="connsiteY10" fmla="*/ 1428271 h 2381662"/>
                <a:gd name="connsiteX11" fmla="*/ 23820 w 2726754"/>
                <a:gd name="connsiteY11" fmla="*/ 1707478 h 2381662"/>
                <a:gd name="connsiteX12" fmla="*/ 156443 w 2726754"/>
                <a:gd name="connsiteY12" fmla="*/ 2007624 h 2381662"/>
                <a:gd name="connsiteX13" fmla="*/ 351887 w 2726754"/>
                <a:gd name="connsiteY13" fmla="*/ 2251929 h 2381662"/>
                <a:gd name="connsiteX14" fmla="*/ 784657 w 2726754"/>
                <a:gd name="connsiteY14" fmla="*/ 2377572 h 2381662"/>
                <a:gd name="connsiteX15" fmla="*/ 1503612 w 2726754"/>
                <a:gd name="connsiteY15" fmla="*/ 2342671 h 2381662"/>
                <a:gd name="connsiteX16" fmla="*/ 2180687 w 2726754"/>
                <a:gd name="connsiteY16" fmla="*/ 2258910 h 2381662"/>
                <a:gd name="connsiteX17" fmla="*/ 2578556 w 2726754"/>
                <a:gd name="connsiteY17" fmla="*/ 2056485 h 2381662"/>
                <a:gd name="connsiteX18" fmla="*/ 2725139 w 2726754"/>
                <a:gd name="connsiteY18" fmla="*/ 1651636 h 2381662"/>
                <a:gd name="connsiteX19" fmla="*/ 2641377 w 2726754"/>
                <a:gd name="connsiteY19" fmla="*/ 1176986 h 2381662"/>
                <a:gd name="connsiteX20" fmla="*/ 2411032 w 2726754"/>
                <a:gd name="connsiteY20" fmla="*/ 911740 h 2381662"/>
                <a:gd name="connsiteX21" fmla="*/ 2159747 w 2726754"/>
                <a:gd name="connsiteY21" fmla="*/ 786097 h 2381662"/>
                <a:gd name="connsiteX22" fmla="*/ 1950342 w 2726754"/>
                <a:gd name="connsiteY22" fmla="*/ 520852 h 2381662"/>
                <a:gd name="connsiteX23" fmla="*/ 1817719 w 2726754"/>
                <a:gd name="connsiteY23" fmla="*/ 53181 h 2381662"/>
                <a:gd name="connsiteX24" fmla="*/ 1742664 w 2726754"/>
                <a:gd name="connsiteY24" fmla="*/ 43329 h 2381662"/>
                <a:gd name="connsiteX0" fmla="*/ 1742664 w 2726754"/>
                <a:gd name="connsiteY0" fmla="*/ 0 h 2338333"/>
                <a:gd name="connsiteX1" fmla="*/ 1761878 w 2726754"/>
                <a:gd name="connsiteY1" fmla="*/ 303019 h 2338333"/>
                <a:gd name="connsiteX2" fmla="*/ 1678116 w 2726754"/>
                <a:gd name="connsiteY2" fmla="*/ 505443 h 2338333"/>
                <a:gd name="connsiteX3" fmla="*/ 1531533 w 2726754"/>
                <a:gd name="connsiteY3" fmla="*/ 603165 h 2338333"/>
                <a:gd name="connsiteX4" fmla="*/ 1217426 w 2726754"/>
                <a:gd name="connsiteY4" fmla="*/ 582225 h 2338333"/>
                <a:gd name="connsiteX5" fmla="*/ 959160 w 2726754"/>
                <a:gd name="connsiteY5" fmla="*/ 540344 h 2338333"/>
                <a:gd name="connsiteX6" fmla="*/ 631093 w 2726754"/>
                <a:gd name="connsiteY6" fmla="*/ 575245 h 2338333"/>
                <a:gd name="connsiteX7" fmla="*/ 379808 w 2726754"/>
                <a:gd name="connsiteY7" fmla="*/ 659007 h 2338333"/>
                <a:gd name="connsiteX8" fmla="*/ 177383 w 2726754"/>
                <a:gd name="connsiteY8" fmla="*/ 812570 h 2338333"/>
                <a:gd name="connsiteX9" fmla="*/ 58721 w 2726754"/>
                <a:gd name="connsiteY9" fmla="*/ 1070836 h 2338333"/>
                <a:gd name="connsiteX10" fmla="*/ 2879 w 2726754"/>
                <a:gd name="connsiteY10" fmla="*/ 1384942 h 2338333"/>
                <a:gd name="connsiteX11" fmla="*/ 23820 w 2726754"/>
                <a:gd name="connsiteY11" fmla="*/ 1664149 h 2338333"/>
                <a:gd name="connsiteX12" fmla="*/ 156443 w 2726754"/>
                <a:gd name="connsiteY12" fmla="*/ 1964295 h 2338333"/>
                <a:gd name="connsiteX13" fmla="*/ 351887 w 2726754"/>
                <a:gd name="connsiteY13" fmla="*/ 2208600 h 2338333"/>
                <a:gd name="connsiteX14" fmla="*/ 784657 w 2726754"/>
                <a:gd name="connsiteY14" fmla="*/ 2334243 h 2338333"/>
                <a:gd name="connsiteX15" fmla="*/ 1503612 w 2726754"/>
                <a:gd name="connsiteY15" fmla="*/ 2299342 h 2338333"/>
                <a:gd name="connsiteX16" fmla="*/ 2180687 w 2726754"/>
                <a:gd name="connsiteY16" fmla="*/ 2215581 h 2338333"/>
                <a:gd name="connsiteX17" fmla="*/ 2578556 w 2726754"/>
                <a:gd name="connsiteY17" fmla="*/ 2013156 h 2338333"/>
                <a:gd name="connsiteX18" fmla="*/ 2725139 w 2726754"/>
                <a:gd name="connsiteY18" fmla="*/ 1608307 h 2338333"/>
                <a:gd name="connsiteX19" fmla="*/ 2641377 w 2726754"/>
                <a:gd name="connsiteY19" fmla="*/ 1133657 h 2338333"/>
                <a:gd name="connsiteX20" fmla="*/ 2411032 w 2726754"/>
                <a:gd name="connsiteY20" fmla="*/ 868411 h 2338333"/>
                <a:gd name="connsiteX21" fmla="*/ 2159747 w 2726754"/>
                <a:gd name="connsiteY21" fmla="*/ 742768 h 2338333"/>
                <a:gd name="connsiteX22" fmla="*/ 1950342 w 2726754"/>
                <a:gd name="connsiteY22" fmla="*/ 477523 h 2338333"/>
                <a:gd name="connsiteX23" fmla="*/ 1817719 w 2726754"/>
                <a:gd name="connsiteY23" fmla="*/ 9852 h 2338333"/>
                <a:gd name="connsiteX24" fmla="*/ 1742664 w 2726754"/>
                <a:gd name="connsiteY24" fmla="*/ 0 h 2338333"/>
                <a:gd name="connsiteX0" fmla="*/ 1742664 w 2726754"/>
                <a:gd name="connsiteY0" fmla="*/ 31422 h 2369755"/>
                <a:gd name="connsiteX1" fmla="*/ 1761878 w 2726754"/>
                <a:gd name="connsiteY1" fmla="*/ 334441 h 2369755"/>
                <a:gd name="connsiteX2" fmla="*/ 1678116 w 2726754"/>
                <a:gd name="connsiteY2" fmla="*/ 536865 h 2369755"/>
                <a:gd name="connsiteX3" fmla="*/ 1531533 w 2726754"/>
                <a:gd name="connsiteY3" fmla="*/ 634587 h 2369755"/>
                <a:gd name="connsiteX4" fmla="*/ 1217426 w 2726754"/>
                <a:gd name="connsiteY4" fmla="*/ 613647 h 2369755"/>
                <a:gd name="connsiteX5" fmla="*/ 959160 w 2726754"/>
                <a:gd name="connsiteY5" fmla="*/ 571766 h 2369755"/>
                <a:gd name="connsiteX6" fmla="*/ 631093 w 2726754"/>
                <a:gd name="connsiteY6" fmla="*/ 606667 h 2369755"/>
                <a:gd name="connsiteX7" fmla="*/ 379808 w 2726754"/>
                <a:gd name="connsiteY7" fmla="*/ 690429 h 2369755"/>
                <a:gd name="connsiteX8" fmla="*/ 177383 w 2726754"/>
                <a:gd name="connsiteY8" fmla="*/ 843992 h 2369755"/>
                <a:gd name="connsiteX9" fmla="*/ 58721 w 2726754"/>
                <a:gd name="connsiteY9" fmla="*/ 1102258 h 2369755"/>
                <a:gd name="connsiteX10" fmla="*/ 2879 w 2726754"/>
                <a:gd name="connsiteY10" fmla="*/ 1416364 h 2369755"/>
                <a:gd name="connsiteX11" fmla="*/ 23820 w 2726754"/>
                <a:gd name="connsiteY11" fmla="*/ 1695571 h 2369755"/>
                <a:gd name="connsiteX12" fmla="*/ 156443 w 2726754"/>
                <a:gd name="connsiteY12" fmla="*/ 1995717 h 2369755"/>
                <a:gd name="connsiteX13" fmla="*/ 351887 w 2726754"/>
                <a:gd name="connsiteY13" fmla="*/ 2240022 h 2369755"/>
                <a:gd name="connsiteX14" fmla="*/ 784657 w 2726754"/>
                <a:gd name="connsiteY14" fmla="*/ 2365665 h 2369755"/>
                <a:gd name="connsiteX15" fmla="*/ 1503612 w 2726754"/>
                <a:gd name="connsiteY15" fmla="*/ 2330764 h 2369755"/>
                <a:gd name="connsiteX16" fmla="*/ 2180687 w 2726754"/>
                <a:gd name="connsiteY16" fmla="*/ 2247003 h 2369755"/>
                <a:gd name="connsiteX17" fmla="*/ 2578556 w 2726754"/>
                <a:gd name="connsiteY17" fmla="*/ 2044578 h 2369755"/>
                <a:gd name="connsiteX18" fmla="*/ 2725139 w 2726754"/>
                <a:gd name="connsiteY18" fmla="*/ 1639729 h 2369755"/>
                <a:gd name="connsiteX19" fmla="*/ 2641377 w 2726754"/>
                <a:gd name="connsiteY19" fmla="*/ 1165079 h 2369755"/>
                <a:gd name="connsiteX20" fmla="*/ 2411032 w 2726754"/>
                <a:gd name="connsiteY20" fmla="*/ 899833 h 2369755"/>
                <a:gd name="connsiteX21" fmla="*/ 2159747 w 2726754"/>
                <a:gd name="connsiteY21" fmla="*/ 774190 h 2369755"/>
                <a:gd name="connsiteX22" fmla="*/ 1950342 w 2726754"/>
                <a:gd name="connsiteY22" fmla="*/ 508945 h 2369755"/>
                <a:gd name="connsiteX23" fmla="*/ 1808194 w 2726754"/>
                <a:gd name="connsiteY23" fmla="*/ 3174 h 2369755"/>
                <a:gd name="connsiteX24" fmla="*/ 1742664 w 2726754"/>
                <a:gd name="connsiteY24" fmla="*/ 31422 h 2369755"/>
                <a:gd name="connsiteX0" fmla="*/ 1742664 w 2726754"/>
                <a:gd name="connsiteY0" fmla="*/ 21853 h 2360186"/>
                <a:gd name="connsiteX1" fmla="*/ 1761878 w 2726754"/>
                <a:gd name="connsiteY1" fmla="*/ 324872 h 2360186"/>
                <a:gd name="connsiteX2" fmla="*/ 1678116 w 2726754"/>
                <a:gd name="connsiteY2" fmla="*/ 527296 h 2360186"/>
                <a:gd name="connsiteX3" fmla="*/ 1531533 w 2726754"/>
                <a:gd name="connsiteY3" fmla="*/ 625018 h 2360186"/>
                <a:gd name="connsiteX4" fmla="*/ 1217426 w 2726754"/>
                <a:gd name="connsiteY4" fmla="*/ 604078 h 2360186"/>
                <a:gd name="connsiteX5" fmla="*/ 959160 w 2726754"/>
                <a:gd name="connsiteY5" fmla="*/ 562197 h 2360186"/>
                <a:gd name="connsiteX6" fmla="*/ 631093 w 2726754"/>
                <a:gd name="connsiteY6" fmla="*/ 597098 h 2360186"/>
                <a:gd name="connsiteX7" fmla="*/ 379808 w 2726754"/>
                <a:gd name="connsiteY7" fmla="*/ 680860 h 2360186"/>
                <a:gd name="connsiteX8" fmla="*/ 177383 w 2726754"/>
                <a:gd name="connsiteY8" fmla="*/ 834423 h 2360186"/>
                <a:gd name="connsiteX9" fmla="*/ 58721 w 2726754"/>
                <a:gd name="connsiteY9" fmla="*/ 1092689 h 2360186"/>
                <a:gd name="connsiteX10" fmla="*/ 2879 w 2726754"/>
                <a:gd name="connsiteY10" fmla="*/ 1406795 h 2360186"/>
                <a:gd name="connsiteX11" fmla="*/ 23820 w 2726754"/>
                <a:gd name="connsiteY11" fmla="*/ 1686002 h 2360186"/>
                <a:gd name="connsiteX12" fmla="*/ 156443 w 2726754"/>
                <a:gd name="connsiteY12" fmla="*/ 1986148 h 2360186"/>
                <a:gd name="connsiteX13" fmla="*/ 351887 w 2726754"/>
                <a:gd name="connsiteY13" fmla="*/ 2230453 h 2360186"/>
                <a:gd name="connsiteX14" fmla="*/ 784657 w 2726754"/>
                <a:gd name="connsiteY14" fmla="*/ 2356096 h 2360186"/>
                <a:gd name="connsiteX15" fmla="*/ 1503612 w 2726754"/>
                <a:gd name="connsiteY15" fmla="*/ 2321195 h 2360186"/>
                <a:gd name="connsiteX16" fmla="*/ 2180687 w 2726754"/>
                <a:gd name="connsiteY16" fmla="*/ 2237434 h 2360186"/>
                <a:gd name="connsiteX17" fmla="*/ 2578556 w 2726754"/>
                <a:gd name="connsiteY17" fmla="*/ 2035009 h 2360186"/>
                <a:gd name="connsiteX18" fmla="*/ 2725139 w 2726754"/>
                <a:gd name="connsiteY18" fmla="*/ 1630160 h 2360186"/>
                <a:gd name="connsiteX19" fmla="*/ 2641377 w 2726754"/>
                <a:gd name="connsiteY19" fmla="*/ 1155510 h 2360186"/>
                <a:gd name="connsiteX20" fmla="*/ 2411032 w 2726754"/>
                <a:gd name="connsiteY20" fmla="*/ 890264 h 2360186"/>
                <a:gd name="connsiteX21" fmla="*/ 2159747 w 2726754"/>
                <a:gd name="connsiteY21" fmla="*/ 764621 h 2360186"/>
                <a:gd name="connsiteX22" fmla="*/ 1950342 w 2726754"/>
                <a:gd name="connsiteY22" fmla="*/ 499376 h 2360186"/>
                <a:gd name="connsiteX23" fmla="*/ 1817719 w 2726754"/>
                <a:gd name="connsiteY23" fmla="*/ 17417 h 2360186"/>
                <a:gd name="connsiteX24" fmla="*/ 1742664 w 2726754"/>
                <a:gd name="connsiteY24" fmla="*/ 21853 h 2360186"/>
                <a:gd name="connsiteX0" fmla="*/ 1742664 w 2726754"/>
                <a:gd name="connsiteY0" fmla="*/ 23966 h 2362299"/>
                <a:gd name="connsiteX1" fmla="*/ 1761878 w 2726754"/>
                <a:gd name="connsiteY1" fmla="*/ 326985 h 2362299"/>
                <a:gd name="connsiteX2" fmla="*/ 1678116 w 2726754"/>
                <a:gd name="connsiteY2" fmla="*/ 529409 h 2362299"/>
                <a:gd name="connsiteX3" fmla="*/ 1531533 w 2726754"/>
                <a:gd name="connsiteY3" fmla="*/ 627131 h 2362299"/>
                <a:gd name="connsiteX4" fmla="*/ 1217426 w 2726754"/>
                <a:gd name="connsiteY4" fmla="*/ 606191 h 2362299"/>
                <a:gd name="connsiteX5" fmla="*/ 959160 w 2726754"/>
                <a:gd name="connsiteY5" fmla="*/ 564310 h 2362299"/>
                <a:gd name="connsiteX6" fmla="*/ 631093 w 2726754"/>
                <a:gd name="connsiteY6" fmla="*/ 599211 h 2362299"/>
                <a:gd name="connsiteX7" fmla="*/ 379808 w 2726754"/>
                <a:gd name="connsiteY7" fmla="*/ 682973 h 2362299"/>
                <a:gd name="connsiteX8" fmla="*/ 177383 w 2726754"/>
                <a:gd name="connsiteY8" fmla="*/ 836536 h 2362299"/>
                <a:gd name="connsiteX9" fmla="*/ 58721 w 2726754"/>
                <a:gd name="connsiteY9" fmla="*/ 1094802 h 2362299"/>
                <a:gd name="connsiteX10" fmla="*/ 2879 w 2726754"/>
                <a:gd name="connsiteY10" fmla="*/ 1408908 h 2362299"/>
                <a:gd name="connsiteX11" fmla="*/ 23820 w 2726754"/>
                <a:gd name="connsiteY11" fmla="*/ 1688115 h 2362299"/>
                <a:gd name="connsiteX12" fmla="*/ 156443 w 2726754"/>
                <a:gd name="connsiteY12" fmla="*/ 1988261 h 2362299"/>
                <a:gd name="connsiteX13" fmla="*/ 351887 w 2726754"/>
                <a:gd name="connsiteY13" fmla="*/ 2232566 h 2362299"/>
                <a:gd name="connsiteX14" fmla="*/ 784657 w 2726754"/>
                <a:gd name="connsiteY14" fmla="*/ 2358209 h 2362299"/>
                <a:gd name="connsiteX15" fmla="*/ 1503612 w 2726754"/>
                <a:gd name="connsiteY15" fmla="*/ 2323308 h 2362299"/>
                <a:gd name="connsiteX16" fmla="*/ 2180687 w 2726754"/>
                <a:gd name="connsiteY16" fmla="*/ 2239547 h 2362299"/>
                <a:gd name="connsiteX17" fmla="*/ 2578556 w 2726754"/>
                <a:gd name="connsiteY17" fmla="*/ 2037122 h 2362299"/>
                <a:gd name="connsiteX18" fmla="*/ 2725139 w 2726754"/>
                <a:gd name="connsiteY18" fmla="*/ 1632273 h 2362299"/>
                <a:gd name="connsiteX19" fmla="*/ 2641377 w 2726754"/>
                <a:gd name="connsiteY19" fmla="*/ 1157623 h 2362299"/>
                <a:gd name="connsiteX20" fmla="*/ 2411032 w 2726754"/>
                <a:gd name="connsiteY20" fmla="*/ 892377 h 2362299"/>
                <a:gd name="connsiteX21" fmla="*/ 2159747 w 2726754"/>
                <a:gd name="connsiteY21" fmla="*/ 766734 h 2362299"/>
                <a:gd name="connsiteX22" fmla="*/ 1950342 w 2726754"/>
                <a:gd name="connsiteY22" fmla="*/ 501489 h 2362299"/>
                <a:gd name="connsiteX23" fmla="*/ 1817719 w 2726754"/>
                <a:gd name="connsiteY23" fmla="*/ 19530 h 2362299"/>
                <a:gd name="connsiteX24" fmla="*/ 1742664 w 2726754"/>
                <a:gd name="connsiteY24" fmla="*/ 23966 h 2362299"/>
                <a:gd name="connsiteX0" fmla="*/ 1742664 w 2726754"/>
                <a:gd name="connsiteY0" fmla="*/ 25024 h 2363357"/>
                <a:gd name="connsiteX1" fmla="*/ 1761878 w 2726754"/>
                <a:gd name="connsiteY1" fmla="*/ 328043 h 2363357"/>
                <a:gd name="connsiteX2" fmla="*/ 1678116 w 2726754"/>
                <a:gd name="connsiteY2" fmla="*/ 530467 h 2363357"/>
                <a:gd name="connsiteX3" fmla="*/ 1531533 w 2726754"/>
                <a:gd name="connsiteY3" fmla="*/ 628189 h 2363357"/>
                <a:gd name="connsiteX4" fmla="*/ 1217426 w 2726754"/>
                <a:gd name="connsiteY4" fmla="*/ 607249 h 2363357"/>
                <a:gd name="connsiteX5" fmla="*/ 959160 w 2726754"/>
                <a:gd name="connsiteY5" fmla="*/ 565368 h 2363357"/>
                <a:gd name="connsiteX6" fmla="*/ 631093 w 2726754"/>
                <a:gd name="connsiteY6" fmla="*/ 600269 h 2363357"/>
                <a:gd name="connsiteX7" fmla="*/ 379808 w 2726754"/>
                <a:gd name="connsiteY7" fmla="*/ 684031 h 2363357"/>
                <a:gd name="connsiteX8" fmla="*/ 177383 w 2726754"/>
                <a:gd name="connsiteY8" fmla="*/ 837594 h 2363357"/>
                <a:gd name="connsiteX9" fmla="*/ 58721 w 2726754"/>
                <a:gd name="connsiteY9" fmla="*/ 1095860 h 2363357"/>
                <a:gd name="connsiteX10" fmla="*/ 2879 w 2726754"/>
                <a:gd name="connsiteY10" fmla="*/ 1409966 h 2363357"/>
                <a:gd name="connsiteX11" fmla="*/ 23820 w 2726754"/>
                <a:gd name="connsiteY11" fmla="*/ 1689173 h 2363357"/>
                <a:gd name="connsiteX12" fmla="*/ 156443 w 2726754"/>
                <a:gd name="connsiteY12" fmla="*/ 1989319 h 2363357"/>
                <a:gd name="connsiteX13" fmla="*/ 351887 w 2726754"/>
                <a:gd name="connsiteY13" fmla="*/ 2233624 h 2363357"/>
                <a:gd name="connsiteX14" fmla="*/ 784657 w 2726754"/>
                <a:gd name="connsiteY14" fmla="*/ 2359267 h 2363357"/>
                <a:gd name="connsiteX15" fmla="*/ 1503612 w 2726754"/>
                <a:gd name="connsiteY15" fmla="*/ 2324366 h 2363357"/>
                <a:gd name="connsiteX16" fmla="*/ 2180687 w 2726754"/>
                <a:gd name="connsiteY16" fmla="*/ 2240605 h 2363357"/>
                <a:gd name="connsiteX17" fmla="*/ 2578556 w 2726754"/>
                <a:gd name="connsiteY17" fmla="*/ 2038180 h 2363357"/>
                <a:gd name="connsiteX18" fmla="*/ 2725139 w 2726754"/>
                <a:gd name="connsiteY18" fmla="*/ 1633331 h 2363357"/>
                <a:gd name="connsiteX19" fmla="*/ 2641377 w 2726754"/>
                <a:gd name="connsiteY19" fmla="*/ 1158681 h 2363357"/>
                <a:gd name="connsiteX20" fmla="*/ 2411032 w 2726754"/>
                <a:gd name="connsiteY20" fmla="*/ 893435 h 2363357"/>
                <a:gd name="connsiteX21" fmla="*/ 2159747 w 2726754"/>
                <a:gd name="connsiteY21" fmla="*/ 767792 h 2363357"/>
                <a:gd name="connsiteX22" fmla="*/ 1950342 w 2726754"/>
                <a:gd name="connsiteY22" fmla="*/ 502547 h 2363357"/>
                <a:gd name="connsiteX23" fmla="*/ 1817719 w 2726754"/>
                <a:gd name="connsiteY23" fmla="*/ 20588 h 2363357"/>
                <a:gd name="connsiteX24" fmla="*/ 1742664 w 2726754"/>
                <a:gd name="connsiteY24" fmla="*/ 25024 h 236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26754" h="2363357">
                  <a:moveTo>
                    <a:pt x="1742664" y="25024"/>
                  </a:moveTo>
                  <a:cubicBezTo>
                    <a:pt x="1759550" y="83409"/>
                    <a:pt x="1772636" y="243803"/>
                    <a:pt x="1761878" y="328043"/>
                  </a:cubicBezTo>
                  <a:cubicBezTo>
                    <a:pt x="1751120" y="412283"/>
                    <a:pt x="1716507" y="480443"/>
                    <a:pt x="1678116" y="530467"/>
                  </a:cubicBezTo>
                  <a:cubicBezTo>
                    <a:pt x="1639725" y="580491"/>
                    <a:pt x="1608315" y="615392"/>
                    <a:pt x="1531533" y="628189"/>
                  </a:cubicBezTo>
                  <a:cubicBezTo>
                    <a:pt x="1454751" y="640986"/>
                    <a:pt x="1312822" y="617719"/>
                    <a:pt x="1217426" y="607249"/>
                  </a:cubicBezTo>
                  <a:cubicBezTo>
                    <a:pt x="1122030" y="596779"/>
                    <a:pt x="1056882" y="566531"/>
                    <a:pt x="959160" y="565368"/>
                  </a:cubicBezTo>
                  <a:cubicBezTo>
                    <a:pt x="861438" y="564205"/>
                    <a:pt x="727652" y="580492"/>
                    <a:pt x="631093" y="600269"/>
                  </a:cubicBezTo>
                  <a:cubicBezTo>
                    <a:pt x="534534" y="620046"/>
                    <a:pt x="455426" y="644477"/>
                    <a:pt x="379808" y="684031"/>
                  </a:cubicBezTo>
                  <a:cubicBezTo>
                    <a:pt x="304190" y="723585"/>
                    <a:pt x="230897" y="768956"/>
                    <a:pt x="177383" y="837594"/>
                  </a:cubicBezTo>
                  <a:cubicBezTo>
                    <a:pt x="123868" y="906232"/>
                    <a:pt x="87805" y="1000465"/>
                    <a:pt x="58721" y="1095860"/>
                  </a:cubicBezTo>
                  <a:cubicBezTo>
                    <a:pt x="29637" y="1191255"/>
                    <a:pt x="8696" y="1311081"/>
                    <a:pt x="2879" y="1409966"/>
                  </a:cubicBezTo>
                  <a:cubicBezTo>
                    <a:pt x="-2938" y="1508852"/>
                    <a:pt x="-1774" y="1592614"/>
                    <a:pt x="23820" y="1689173"/>
                  </a:cubicBezTo>
                  <a:cubicBezTo>
                    <a:pt x="49414" y="1785732"/>
                    <a:pt x="101765" y="1898577"/>
                    <a:pt x="156443" y="1989319"/>
                  </a:cubicBezTo>
                  <a:cubicBezTo>
                    <a:pt x="211121" y="2080061"/>
                    <a:pt x="247185" y="2171966"/>
                    <a:pt x="351887" y="2233624"/>
                  </a:cubicBezTo>
                  <a:cubicBezTo>
                    <a:pt x="456589" y="2295282"/>
                    <a:pt x="592703" y="2344143"/>
                    <a:pt x="784657" y="2359267"/>
                  </a:cubicBezTo>
                  <a:cubicBezTo>
                    <a:pt x="976611" y="2374391"/>
                    <a:pt x="1270940" y="2344143"/>
                    <a:pt x="1503612" y="2324366"/>
                  </a:cubicBezTo>
                  <a:cubicBezTo>
                    <a:pt x="1736284" y="2304589"/>
                    <a:pt x="2001530" y="2288303"/>
                    <a:pt x="2180687" y="2240605"/>
                  </a:cubicBezTo>
                  <a:cubicBezTo>
                    <a:pt x="2359844" y="2192907"/>
                    <a:pt x="2487814" y="2139392"/>
                    <a:pt x="2578556" y="2038180"/>
                  </a:cubicBezTo>
                  <a:cubicBezTo>
                    <a:pt x="2669298" y="1936968"/>
                    <a:pt x="2714669" y="1779914"/>
                    <a:pt x="2725139" y="1633331"/>
                  </a:cubicBezTo>
                  <a:cubicBezTo>
                    <a:pt x="2735609" y="1486748"/>
                    <a:pt x="2693728" y="1281997"/>
                    <a:pt x="2641377" y="1158681"/>
                  </a:cubicBezTo>
                  <a:cubicBezTo>
                    <a:pt x="2589026" y="1035365"/>
                    <a:pt x="2491304" y="958583"/>
                    <a:pt x="2411032" y="893435"/>
                  </a:cubicBezTo>
                  <a:cubicBezTo>
                    <a:pt x="2330760" y="828287"/>
                    <a:pt x="2236529" y="832940"/>
                    <a:pt x="2159747" y="767792"/>
                  </a:cubicBezTo>
                  <a:cubicBezTo>
                    <a:pt x="2082965" y="702644"/>
                    <a:pt x="2007347" y="624700"/>
                    <a:pt x="1950342" y="502547"/>
                  </a:cubicBezTo>
                  <a:cubicBezTo>
                    <a:pt x="1893337" y="380394"/>
                    <a:pt x="1852332" y="100175"/>
                    <a:pt x="1817719" y="20588"/>
                  </a:cubicBezTo>
                  <a:cubicBezTo>
                    <a:pt x="1795876" y="30004"/>
                    <a:pt x="1725778" y="-33361"/>
                    <a:pt x="1742664" y="2502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  <a:effectLst>
              <a:outerShdw blurRad="25400" dist="12700" dir="2700000" algn="tl" rotWithShape="0">
                <a:prstClr val="black">
                  <a:alpha val="8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/>
            <p:nvPr userDrawn="1"/>
          </p:nvSpPr>
          <p:spPr>
            <a:xfrm>
              <a:off x="7910748" y="3218613"/>
              <a:ext cx="1193606" cy="876266"/>
            </a:xfrm>
            <a:custGeom>
              <a:avLst/>
              <a:gdLst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90742 w 1194967"/>
                <a:gd name="connsiteY8" fmla="*/ 644761 h 876266"/>
                <a:gd name="connsiteX9" fmla="*/ 0 w 1194967"/>
                <a:gd name="connsiteY9" fmla="*/ 602880 h 876266"/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90742 w 1194967"/>
                <a:gd name="connsiteY8" fmla="*/ 644761 h 876266"/>
                <a:gd name="connsiteX9" fmla="*/ 0 w 1194967"/>
                <a:gd name="connsiteY9" fmla="*/ 602880 h 876266"/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90742 w 1194967"/>
                <a:gd name="connsiteY8" fmla="*/ 644761 h 876266"/>
                <a:gd name="connsiteX9" fmla="*/ 0 w 1194967"/>
                <a:gd name="connsiteY9" fmla="*/ 602880 h 876266"/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76454 w 1194967"/>
                <a:gd name="connsiteY8" fmla="*/ 663811 h 876266"/>
                <a:gd name="connsiteX9" fmla="*/ 0 w 1194967"/>
                <a:gd name="connsiteY9" fmla="*/ 602880 h 876266"/>
                <a:gd name="connsiteX0" fmla="*/ 7711 w 1202678"/>
                <a:gd name="connsiteY0" fmla="*/ 602880 h 876266"/>
                <a:gd name="connsiteX1" fmla="*/ 12892 w 1202678"/>
                <a:gd name="connsiteY1" fmla="*/ 534915 h 876266"/>
                <a:gd name="connsiteX2" fmla="*/ 98453 w 1202678"/>
                <a:gd name="connsiteY2" fmla="*/ 288773 h 876266"/>
                <a:gd name="connsiteX3" fmla="*/ 328798 w 1202678"/>
                <a:gd name="connsiteY3" fmla="*/ 51448 h 876266"/>
                <a:gd name="connsiteX4" fmla="*/ 754588 w 1202678"/>
                <a:gd name="connsiteY4" fmla="*/ 16548 h 876266"/>
                <a:gd name="connsiteX5" fmla="*/ 1201317 w 1202678"/>
                <a:gd name="connsiteY5" fmla="*/ 260853 h 876266"/>
                <a:gd name="connsiteX6" fmla="*/ 880230 w 1202678"/>
                <a:gd name="connsiteY6" fmla="*/ 721543 h 876266"/>
                <a:gd name="connsiteX7" fmla="*/ 503302 w 1202678"/>
                <a:gd name="connsiteY7" fmla="*/ 875106 h 876266"/>
                <a:gd name="connsiteX8" fmla="*/ 182215 w 1202678"/>
                <a:gd name="connsiteY8" fmla="*/ 784364 h 876266"/>
                <a:gd name="connsiteX9" fmla="*/ 84165 w 1202678"/>
                <a:gd name="connsiteY9" fmla="*/ 663811 h 876266"/>
                <a:gd name="connsiteX10" fmla="*/ 7711 w 1202678"/>
                <a:gd name="connsiteY10" fmla="*/ 602880 h 876266"/>
                <a:gd name="connsiteX0" fmla="*/ 4101 w 1199068"/>
                <a:gd name="connsiteY0" fmla="*/ 602880 h 876266"/>
                <a:gd name="connsiteX1" fmla="*/ 23569 w 1199068"/>
                <a:gd name="connsiteY1" fmla="*/ 534915 h 876266"/>
                <a:gd name="connsiteX2" fmla="*/ 94843 w 1199068"/>
                <a:gd name="connsiteY2" fmla="*/ 288773 h 876266"/>
                <a:gd name="connsiteX3" fmla="*/ 325188 w 1199068"/>
                <a:gd name="connsiteY3" fmla="*/ 51448 h 876266"/>
                <a:gd name="connsiteX4" fmla="*/ 750978 w 1199068"/>
                <a:gd name="connsiteY4" fmla="*/ 16548 h 876266"/>
                <a:gd name="connsiteX5" fmla="*/ 1197707 w 1199068"/>
                <a:gd name="connsiteY5" fmla="*/ 260853 h 876266"/>
                <a:gd name="connsiteX6" fmla="*/ 876620 w 1199068"/>
                <a:gd name="connsiteY6" fmla="*/ 721543 h 876266"/>
                <a:gd name="connsiteX7" fmla="*/ 499692 w 1199068"/>
                <a:gd name="connsiteY7" fmla="*/ 875106 h 876266"/>
                <a:gd name="connsiteX8" fmla="*/ 178605 w 1199068"/>
                <a:gd name="connsiteY8" fmla="*/ 784364 h 876266"/>
                <a:gd name="connsiteX9" fmla="*/ 80555 w 1199068"/>
                <a:gd name="connsiteY9" fmla="*/ 663811 h 876266"/>
                <a:gd name="connsiteX10" fmla="*/ 4101 w 1199068"/>
                <a:gd name="connsiteY10" fmla="*/ 602880 h 876266"/>
                <a:gd name="connsiteX0" fmla="*/ 4101 w 1199068"/>
                <a:gd name="connsiteY0" fmla="*/ 602880 h 876266"/>
                <a:gd name="connsiteX1" fmla="*/ 23569 w 1199068"/>
                <a:gd name="connsiteY1" fmla="*/ 534915 h 876266"/>
                <a:gd name="connsiteX2" fmla="*/ 94843 w 1199068"/>
                <a:gd name="connsiteY2" fmla="*/ 288773 h 876266"/>
                <a:gd name="connsiteX3" fmla="*/ 325188 w 1199068"/>
                <a:gd name="connsiteY3" fmla="*/ 51448 h 876266"/>
                <a:gd name="connsiteX4" fmla="*/ 750978 w 1199068"/>
                <a:gd name="connsiteY4" fmla="*/ 16548 h 876266"/>
                <a:gd name="connsiteX5" fmla="*/ 1197707 w 1199068"/>
                <a:gd name="connsiteY5" fmla="*/ 260853 h 876266"/>
                <a:gd name="connsiteX6" fmla="*/ 876620 w 1199068"/>
                <a:gd name="connsiteY6" fmla="*/ 721543 h 876266"/>
                <a:gd name="connsiteX7" fmla="*/ 499692 w 1199068"/>
                <a:gd name="connsiteY7" fmla="*/ 875106 h 876266"/>
                <a:gd name="connsiteX8" fmla="*/ 178605 w 1199068"/>
                <a:gd name="connsiteY8" fmla="*/ 784364 h 876266"/>
                <a:gd name="connsiteX9" fmla="*/ 75792 w 1199068"/>
                <a:gd name="connsiteY9" fmla="*/ 647142 h 876266"/>
                <a:gd name="connsiteX10" fmla="*/ 4101 w 1199068"/>
                <a:gd name="connsiteY10" fmla="*/ 602880 h 876266"/>
                <a:gd name="connsiteX0" fmla="*/ 4101 w 1199068"/>
                <a:gd name="connsiteY0" fmla="*/ 602880 h 876266"/>
                <a:gd name="connsiteX1" fmla="*/ 23569 w 1199068"/>
                <a:gd name="connsiteY1" fmla="*/ 534915 h 876266"/>
                <a:gd name="connsiteX2" fmla="*/ 94843 w 1199068"/>
                <a:gd name="connsiteY2" fmla="*/ 288773 h 876266"/>
                <a:gd name="connsiteX3" fmla="*/ 325188 w 1199068"/>
                <a:gd name="connsiteY3" fmla="*/ 51448 h 876266"/>
                <a:gd name="connsiteX4" fmla="*/ 750978 w 1199068"/>
                <a:gd name="connsiteY4" fmla="*/ 16548 h 876266"/>
                <a:gd name="connsiteX5" fmla="*/ 1197707 w 1199068"/>
                <a:gd name="connsiteY5" fmla="*/ 260853 h 876266"/>
                <a:gd name="connsiteX6" fmla="*/ 876620 w 1199068"/>
                <a:gd name="connsiteY6" fmla="*/ 721543 h 876266"/>
                <a:gd name="connsiteX7" fmla="*/ 499692 w 1199068"/>
                <a:gd name="connsiteY7" fmla="*/ 875106 h 876266"/>
                <a:gd name="connsiteX8" fmla="*/ 178605 w 1199068"/>
                <a:gd name="connsiteY8" fmla="*/ 784364 h 876266"/>
                <a:gd name="connsiteX9" fmla="*/ 75792 w 1199068"/>
                <a:gd name="connsiteY9" fmla="*/ 647142 h 876266"/>
                <a:gd name="connsiteX10" fmla="*/ 4101 w 1199068"/>
                <a:gd name="connsiteY10" fmla="*/ 602880 h 876266"/>
                <a:gd name="connsiteX0" fmla="*/ 0 w 1194967"/>
                <a:gd name="connsiteY0" fmla="*/ 602880 h 876266"/>
                <a:gd name="connsiteX1" fmla="*/ 19468 w 1194967"/>
                <a:gd name="connsiteY1" fmla="*/ 534915 h 876266"/>
                <a:gd name="connsiteX2" fmla="*/ 90742 w 1194967"/>
                <a:gd name="connsiteY2" fmla="*/ 288773 h 876266"/>
                <a:gd name="connsiteX3" fmla="*/ 321087 w 1194967"/>
                <a:gd name="connsiteY3" fmla="*/ 51448 h 876266"/>
                <a:gd name="connsiteX4" fmla="*/ 746877 w 1194967"/>
                <a:gd name="connsiteY4" fmla="*/ 16548 h 876266"/>
                <a:gd name="connsiteX5" fmla="*/ 1193606 w 1194967"/>
                <a:gd name="connsiteY5" fmla="*/ 260853 h 876266"/>
                <a:gd name="connsiteX6" fmla="*/ 872519 w 1194967"/>
                <a:gd name="connsiteY6" fmla="*/ 721543 h 876266"/>
                <a:gd name="connsiteX7" fmla="*/ 495591 w 1194967"/>
                <a:gd name="connsiteY7" fmla="*/ 875106 h 876266"/>
                <a:gd name="connsiteX8" fmla="*/ 174504 w 1194967"/>
                <a:gd name="connsiteY8" fmla="*/ 784364 h 876266"/>
                <a:gd name="connsiteX9" fmla="*/ 71691 w 1194967"/>
                <a:gd name="connsiteY9" fmla="*/ 647142 h 876266"/>
                <a:gd name="connsiteX10" fmla="*/ 0 w 1194967"/>
                <a:gd name="connsiteY10" fmla="*/ 602880 h 876266"/>
                <a:gd name="connsiteX0" fmla="*/ 0 w 1194967"/>
                <a:gd name="connsiteY0" fmla="*/ 602880 h 876266"/>
                <a:gd name="connsiteX1" fmla="*/ 19468 w 1194967"/>
                <a:gd name="connsiteY1" fmla="*/ 534915 h 876266"/>
                <a:gd name="connsiteX2" fmla="*/ 90742 w 1194967"/>
                <a:gd name="connsiteY2" fmla="*/ 288773 h 876266"/>
                <a:gd name="connsiteX3" fmla="*/ 321087 w 1194967"/>
                <a:gd name="connsiteY3" fmla="*/ 51448 h 876266"/>
                <a:gd name="connsiteX4" fmla="*/ 746877 w 1194967"/>
                <a:gd name="connsiteY4" fmla="*/ 16548 h 876266"/>
                <a:gd name="connsiteX5" fmla="*/ 1193606 w 1194967"/>
                <a:gd name="connsiteY5" fmla="*/ 260853 h 876266"/>
                <a:gd name="connsiteX6" fmla="*/ 872519 w 1194967"/>
                <a:gd name="connsiteY6" fmla="*/ 721543 h 876266"/>
                <a:gd name="connsiteX7" fmla="*/ 495591 w 1194967"/>
                <a:gd name="connsiteY7" fmla="*/ 875106 h 876266"/>
                <a:gd name="connsiteX8" fmla="*/ 174504 w 1194967"/>
                <a:gd name="connsiteY8" fmla="*/ 784364 h 876266"/>
                <a:gd name="connsiteX9" fmla="*/ 71691 w 1194967"/>
                <a:gd name="connsiteY9" fmla="*/ 647142 h 876266"/>
                <a:gd name="connsiteX10" fmla="*/ 0 w 1194967"/>
                <a:gd name="connsiteY10" fmla="*/ 602880 h 876266"/>
                <a:gd name="connsiteX0" fmla="*/ 0 w 1194967"/>
                <a:gd name="connsiteY0" fmla="*/ 602880 h 876266"/>
                <a:gd name="connsiteX1" fmla="*/ 19468 w 1194967"/>
                <a:gd name="connsiteY1" fmla="*/ 534915 h 876266"/>
                <a:gd name="connsiteX2" fmla="*/ 90742 w 1194967"/>
                <a:gd name="connsiteY2" fmla="*/ 288773 h 876266"/>
                <a:gd name="connsiteX3" fmla="*/ 321087 w 1194967"/>
                <a:gd name="connsiteY3" fmla="*/ 51448 h 876266"/>
                <a:gd name="connsiteX4" fmla="*/ 746877 w 1194967"/>
                <a:gd name="connsiteY4" fmla="*/ 16548 h 876266"/>
                <a:gd name="connsiteX5" fmla="*/ 1193606 w 1194967"/>
                <a:gd name="connsiteY5" fmla="*/ 260853 h 876266"/>
                <a:gd name="connsiteX6" fmla="*/ 872519 w 1194967"/>
                <a:gd name="connsiteY6" fmla="*/ 721543 h 876266"/>
                <a:gd name="connsiteX7" fmla="*/ 495591 w 1194967"/>
                <a:gd name="connsiteY7" fmla="*/ 875106 h 876266"/>
                <a:gd name="connsiteX8" fmla="*/ 174504 w 1194967"/>
                <a:gd name="connsiteY8" fmla="*/ 784364 h 876266"/>
                <a:gd name="connsiteX9" fmla="*/ 71691 w 1194967"/>
                <a:gd name="connsiteY9" fmla="*/ 647142 h 876266"/>
                <a:gd name="connsiteX10" fmla="*/ 0 w 1194967"/>
                <a:gd name="connsiteY10" fmla="*/ 602880 h 876266"/>
                <a:gd name="connsiteX0" fmla="*/ 0 w 1193606"/>
                <a:gd name="connsiteY0" fmla="*/ 602880 h 876266"/>
                <a:gd name="connsiteX1" fmla="*/ 19468 w 1193606"/>
                <a:gd name="connsiteY1" fmla="*/ 534915 h 876266"/>
                <a:gd name="connsiteX2" fmla="*/ 90742 w 1193606"/>
                <a:gd name="connsiteY2" fmla="*/ 288773 h 876266"/>
                <a:gd name="connsiteX3" fmla="*/ 321087 w 1193606"/>
                <a:gd name="connsiteY3" fmla="*/ 51448 h 876266"/>
                <a:gd name="connsiteX4" fmla="*/ 746877 w 1193606"/>
                <a:gd name="connsiteY4" fmla="*/ 16548 h 876266"/>
                <a:gd name="connsiteX5" fmla="*/ 1193606 w 1193606"/>
                <a:gd name="connsiteY5" fmla="*/ 260853 h 876266"/>
                <a:gd name="connsiteX6" fmla="*/ 872519 w 1193606"/>
                <a:gd name="connsiteY6" fmla="*/ 721543 h 876266"/>
                <a:gd name="connsiteX7" fmla="*/ 495591 w 1193606"/>
                <a:gd name="connsiteY7" fmla="*/ 875106 h 876266"/>
                <a:gd name="connsiteX8" fmla="*/ 174504 w 1193606"/>
                <a:gd name="connsiteY8" fmla="*/ 784364 h 876266"/>
                <a:gd name="connsiteX9" fmla="*/ 71691 w 1193606"/>
                <a:gd name="connsiteY9" fmla="*/ 647142 h 876266"/>
                <a:gd name="connsiteX10" fmla="*/ 0 w 1193606"/>
                <a:gd name="connsiteY10" fmla="*/ 602880 h 87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3606" h="876266">
                  <a:moveTo>
                    <a:pt x="0" y="602880"/>
                  </a:moveTo>
                  <a:cubicBezTo>
                    <a:pt x="4790" y="579015"/>
                    <a:pt x="4344" y="587266"/>
                    <a:pt x="19468" y="534915"/>
                  </a:cubicBezTo>
                  <a:cubicBezTo>
                    <a:pt x="34592" y="482564"/>
                    <a:pt x="40472" y="369351"/>
                    <a:pt x="90742" y="288773"/>
                  </a:cubicBezTo>
                  <a:cubicBezTo>
                    <a:pt x="141012" y="208195"/>
                    <a:pt x="211731" y="96819"/>
                    <a:pt x="321087" y="51448"/>
                  </a:cubicBezTo>
                  <a:cubicBezTo>
                    <a:pt x="430443" y="6077"/>
                    <a:pt x="601457" y="-18353"/>
                    <a:pt x="746877" y="16548"/>
                  </a:cubicBezTo>
                  <a:cubicBezTo>
                    <a:pt x="892297" y="51449"/>
                    <a:pt x="1146472" y="186216"/>
                    <a:pt x="1193606" y="260853"/>
                  </a:cubicBezTo>
                  <a:cubicBezTo>
                    <a:pt x="1171684" y="356921"/>
                    <a:pt x="988855" y="619168"/>
                    <a:pt x="872519" y="721543"/>
                  </a:cubicBezTo>
                  <a:cubicBezTo>
                    <a:pt x="756183" y="823918"/>
                    <a:pt x="611927" y="864636"/>
                    <a:pt x="495591" y="875106"/>
                  </a:cubicBezTo>
                  <a:cubicBezTo>
                    <a:pt x="379255" y="885576"/>
                    <a:pt x="241979" y="822755"/>
                    <a:pt x="174504" y="784364"/>
                  </a:cubicBezTo>
                  <a:cubicBezTo>
                    <a:pt x="107029" y="745973"/>
                    <a:pt x="99612" y="678553"/>
                    <a:pt x="71691" y="647142"/>
                  </a:cubicBezTo>
                  <a:cubicBezTo>
                    <a:pt x="43770" y="615731"/>
                    <a:pt x="35719" y="633636"/>
                    <a:pt x="0" y="602880"/>
                  </a:cubicBezTo>
                  <a:close/>
                </a:path>
              </a:pathLst>
            </a:custGeom>
            <a:solidFill>
              <a:srgbClr val="E5162E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/>
            <p:nvPr userDrawn="1"/>
          </p:nvSpPr>
          <p:spPr>
            <a:xfrm>
              <a:off x="7309669" y="2979859"/>
              <a:ext cx="673664" cy="683697"/>
            </a:xfrm>
            <a:custGeom>
              <a:avLst/>
              <a:gdLst>
                <a:gd name="connsiteX0" fmla="*/ 353847 w 673664"/>
                <a:gd name="connsiteY0" fmla="*/ 9288 h 683697"/>
                <a:gd name="connsiteX1" fmla="*/ 410997 w 673664"/>
                <a:gd name="connsiteY1" fmla="*/ 59294 h 683697"/>
                <a:gd name="connsiteX2" fmla="*/ 415760 w 673664"/>
                <a:gd name="connsiteY2" fmla="*/ 183119 h 683697"/>
                <a:gd name="connsiteX3" fmla="*/ 451479 w 673664"/>
                <a:gd name="connsiteY3" fmla="*/ 195025 h 683697"/>
                <a:gd name="connsiteX4" fmla="*/ 503866 w 673664"/>
                <a:gd name="connsiteY4" fmla="*/ 154544 h 683697"/>
                <a:gd name="connsiteX5" fmla="*/ 582447 w 673664"/>
                <a:gd name="connsiteY5" fmla="*/ 156925 h 683697"/>
                <a:gd name="connsiteX6" fmla="*/ 651504 w 673664"/>
                <a:gd name="connsiteY6" fmla="*/ 230744 h 683697"/>
                <a:gd name="connsiteX7" fmla="*/ 672935 w 673664"/>
                <a:gd name="connsiteY7" fmla="*/ 378381 h 683697"/>
                <a:gd name="connsiteX8" fmla="*/ 630072 w 673664"/>
                <a:gd name="connsiteY8" fmla="*/ 523638 h 683697"/>
                <a:gd name="connsiteX9" fmla="*/ 572922 w 673664"/>
                <a:gd name="connsiteY9" fmla="*/ 573644 h 683697"/>
                <a:gd name="connsiteX10" fmla="*/ 491960 w 673664"/>
                <a:gd name="connsiteY10" fmla="*/ 566500 h 683697"/>
                <a:gd name="connsiteX11" fmla="*/ 449097 w 673664"/>
                <a:gd name="connsiteY11" fmla="*/ 497444 h 683697"/>
                <a:gd name="connsiteX12" fmla="*/ 403854 w 673664"/>
                <a:gd name="connsiteY12" fmla="*/ 487919 h 683697"/>
                <a:gd name="connsiteX13" fmla="*/ 389566 w 673664"/>
                <a:gd name="connsiteY13" fmla="*/ 516494 h 683697"/>
                <a:gd name="connsiteX14" fmla="*/ 401472 w 673664"/>
                <a:gd name="connsiteY14" fmla="*/ 592694 h 683697"/>
                <a:gd name="connsiteX15" fmla="*/ 351466 w 673664"/>
                <a:gd name="connsiteY15" fmla="*/ 659369 h 683697"/>
                <a:gd name="connsiteX16" fmla="*/ 282410 w 673664"/>
                <a:gd name="connsiteY16" fmla="*/ 683181 h 683697"/>
                <a:gd name="connsiteX17" fmla="*/ 139535 w 673664"/>
                <a:gd name="connsiteY17" fmla="*/ 640319 h 683697"/>
                <a:gd name="connsiteX18" fmla="*/ 10947 w 673664"/>
                <a:gd name="connsiteY18" fmla="*/ 521256 h 683697"/>
                <a:gd name="connsiteX19" fmla="*/ 20472 w 673664"/>
                <a:gd name="connsiteY19" fmla="*/ 397431 h 683697"/>
                <a:gd name="connsiteX20" fmla="*/ 130010 w 673664"/>
                <a:gd name="connsiteY20" fmla="*/ 364094 h 683697"/>
                <a:gd name="connsiteX21" fmla="*/ 158585 w 673664"/>
                <a:gd name="connsiteY21" fmla="*/ 340281 h 683697"/>
                <a:gd name="connsiteX22" fmla="*/ 139535 w 673664"/>
                <a:gd name="connsiteY22" fmla="*/ 306944 h 683697"/>
                <a:gd name="connsiteX23" fmla="*/ 46666 w 673664"/>
                <a:gd name="connsiteY23" fmla="*/ 278369 h 683697"/>
                <a:gd name="connsiteX24" fmla="*/ 18091 w 673664"/>
                <a:gd name="connsiteY24" fmla="*/ 199788 h 683697"/>
                <a:gd name="connsiteX25" fmla="*/ 75241 w 673664"/>
                <a:gd name="connsiteY25" fmla="*/ 92631 h 683697"/>
                <a:gd name="connsiteX26" fmla="*/ 191922 w 673664"/>
                <a:gd name="connsiteY26" fmla="*/ 9288 h 683697"/>
                <a:gd name="connsiteX27" fmla="*/ 353847 w 673664"/>
                <a:gd name="connsiteY27" fmla="*/ 9288 h 68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73664" h="683697">
                  <a:moveTo>
                    <a:pt x="353847" y="9288"/>
                  </a:moveTo>
                  <a:cubicBezTo>
                    <a:pt x="390359" y="17622"/>
                    <a:pt x="400678" y="30322"/>
                    <a:pt x="410997" y="59294"/>
                  </a:cubicBezTo>
                  <a:cubicBezTo>
                    <a:pt x="421316" y="88266"/>
                    <a:pt x="409013" y="160497"/>
                    <a:pt x="415760" y="183119"/>
                  </a:cubicBezTo>
                  <a:cubicBezTo>
                    <a:pt x="422507" y="205741"/>
                    <a:pt x="436795" y="199788"/>
                    <a:pt x="451479" y="195025"/>
                  </a:cubicBezTo>
                  <a:cubicBezTo>
                    <a:pt x="466163" y="190262"/>
                    <a:pt x="482038" y="160894"/>
                    <a:pt x="503866" y="154544"/>
                  </a:cubicBezTo>
                  <a:cubicBezTo>
                    <a:pt x="525694" y="148194"/>
                    <a:pt x="557841" y="144225"/>
                    <a:pt x="582447" y="156925"/>
                  </a:cubicBezTo>
                  <a:cubicBezTo>
                    <a:pt x="607053" y="169625"/>
                    <a:pt x="636423" y="193835"/>
                    <a:pt x="651504" y="230744"/>
                  </a:cubicBezTo>
                  <a:cubicBezTo>
                    <a:pt x="666585" y="267653"/>
                    <a:pt x="676507" y="329565"/>
                    <a:pt x="672935" y="378381"/>
                  </a:cubicBezTo>
                  <a:cubicBezTo>
                    <a:pt x="669363" y="427197"/>
                    <a:pt x="646741" y="491094"/>
                    <a:pt x="630072" y="523638"/>
                  </a:cubicBezTo>
                  <a:cubicBezTo>
                    <a:pt x="613403" y="556182"/>
                    <a:pt x="595941" y="566500"/>
                    <a:pt x="572922" y="573644"/>
                  </a:cubicBezTo>
                  <a:cubicBezTo>
                    <a:pt x="549903" y="580788"/>
                    <a:pt x="512597" y="579200"/>
                    <a:pt x="491960" y="566500"/>
                  </a:cubicBezTo>
                  <a:cubicBezTo>
                    <a:pt x="471323" y="553800"/>
                    <a:pt x="463781" y="510541"/>
                    <a:pt x="449097" y="497444"/>
                  </a:cubicBezTo>
                  <a:cubicBezTo>
                    <a:pt x="434413" y="484347"/>
                    <a:pt x="413776" y="484744"/>
                    <a:pt x="403854" y="487919"/>
                  </a:cubicBezTo>
                  <a:cubicBezTo>
                    <a:pt x="393932" y="491094"/>
                    <a:pt x="389963" y="499032"/>
                    <a:pt x="389566" y="516494"/>
                  </a:cubicBezTo>
                  <a:cubicBezTo>
                    <a:pt x="389169" y="533956"/>
                    <a:pt x="407822" y="568882"/>
                    <a:pt x="401472" y="592694"/>
                  </a:cubicBezTo>
                  <a:cubicBezTo>
                    <a:pt x="395122" y="616506"/>
                    <a:pt x="371310" y="644288"/>
                    <a:pt x="351466" y="659369"/>
                  </a:cubicBezTo>
                  <a:cubicBezTo>
                    <a:pt x="331622" y="674450"/>
                    <a:pt x="317732" y="686356"/>
                    <a:pt x="282410" y="683181"/>
                  </a:cubicBezTo>
                  <a:cubicBezTo>
                    <a:pt x="247088" y="680006"/>
                    <a:pt x="184779" y="667306"/>
                    <a:pt x="139535" y="640319"/>
                  </a:cubicBezTo>
                  <a:cubicBezTo>
                    <a:pt x="94291" y="613332"/>
                    <a:pt x="30791" y="561737"/>
                    <a:pt x="10947" y="521256"/>
                  </a:cubicBezTo>
                  <a:cubicBezTo>
                    <a:pt x="-8897" y="480775"/>
                    <a:pt x="628" y="423625"/>
                    <a:pt x="20472" y="397431"/>
                  </a:cubicBezTo>
                  <a:cubicBezTo>
                    <a:pt x="40316" y="371237"/>
                    <a:pt x="106991" y="373619"/>
                    <a:pt x="130010" y="364094"/>
                  </a:cubicBezTo>
                  <a:cubicBezTo>
                    <a:pt x="153029" y="354569"/>
                    <a:pt x="156997" y="349806"/>
                    <a:pt x="158585" y="340281"/>
                  </a:cubicBezTo>
                  <a:cubicBezTo>
                    <a:pt x="160172" y="330756"/>
                    <a:pt x="158188" y="317263"/>
                    <a:pt x="139535" y="306944"/>
                  </a:cubicBezTo>
                  <a:cubicBezTo>
                    <a:pt x="120882" y="296625"/>
                    <a:pt x="66907" y="296228"/>
                    <a:pt x="46666" y="278369"/>
                  </a:cubicBezTo>
                  <a:cubicBezTo>
                    <a:pt x="26425" y="260510"/>
                    <a:pt x="13328" y="230744"/>
                    <a:pt x="18091" y="199788"/>
                  </a:cubicBezTo>
                  <a:cubicBezTo>
                    <a:pt x="22854" y="168832"/>
                    <a:pt x="46269" y="124381"/>
                    <a:pt x="75241" y="92631"/>
                  </a:cubicBezTo>
                  <a:cubicBezTo>
                    <a:pt x="104213" y="60881"/>
                    <a:pt x="151441" y="25163"/>
                    <a:pt x="191922" y="9288"/>
                  </a:cubicBezTo>
                  <a:cubicBezTo>
                    <a:pt x="232403" y="-6587"/>
                    <a:pt x="317335" y="954"/>
                    <a:pt x="353847" y="9288"/>
                  </a:cubicBezTo>
                  <a:close/>
                </a:path>
              </a:pathLst>
            </a:custGeom>
            <a:solidFill>
              <a:srgbClr val="F8B300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6" name="Oval 5"/>
            <p:cNvSpPr/>
            <p:nvPr userDrawn="1"/>
          </p:nvSpPr>
          <p:spPr>
            <a:xfrm>
              <a:off x="7525676" y="3224109"/>
              <a:ext cx="210568" cy="210568"/>
            </a:xfrm>
            <a:prstGeom prst="ellipse">
              <a:avLst/>
            </a:prstGeom>
            <a:solidFill>
              <a:srgbClr val="FDEB0E"/>
            </a:solidFill>
            <a:ln w="0">
              <a:noFill/>
            </a:ln>
            <a:effectLst>
              <a:outerShdw blurRad="25400" dist="12700" dir="2700009" rotWithShape="0">
                <a:srgbClr val="000000">
                  <a:alpha val="8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pic>
          <p:nvPicPr>
            <p:cNvPr id="1027" name="Picture 3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3339" y="4041508"/>
              <a:ext cx="2420143" cy="16698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2" name="Freeform 41"/>
          <p:cNvSpPr/>
          <p:nvPr/>
        </p:nvSpPr>
        <p:spPr>
          <a:xfrm>
            <a:off x="500980" y="114997"/>
            <a:ext cx="7939655" cy="408105"/>
          </a:xfrm>
          <a:custGeom>
            <a:avLst/>
            <a:gdLst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1765979 w 7943414"/>
              <a:gd name="connsiteY21" fmla="*/ 336444 h 354663"/>
              <a:gd name="connsiteX22" fmla="*/ 2094046 w 7943414"/>
              <a:gd name="connsiteY22" fmla="*/ 266642 h 354663"/>
              <a:gd name="connsiteX23" fmla="*/ 2205729 w 7943414"/>
              <a:gd name="connsiteY23" fmla="*/ 154960 h 354663"/>
              <a:gd name="connsiteX24" fmla="*/ 1947463 w 7943414"/>
              <a:gd name="connsiteY24" fmla="*/ 22337 h 354663"/>
              <a:gd name="connsiteX25" fmla="*/ 1340190 w 7943414"/>
              <a:gd name="connsiteY25" fmla="*/ 99119 h 354663"/>
              <a:gd name="connsiteX26" fmla="*/ 858559 w 7943414"/>
              <a:gd name="connsiteY26" fmla="*/ 203821 h 354663"/>
              <a:gd name="connsiteX27" fmla="*/ 495591 w 7943414"/>
              <a:gd name="connsiteY27" fmla="*/ 252682 h 354663"/>
              <a:gd name="connsiteX28" fmla="*/ 188464 w 7943414"/>
              <a:gd name="connsiteY28" fmla="*/ 196841 h 354663"/>
              <a:gd name="connsiteX29" fmla="*/ 0 w 7943414"/>
              <a:gd name="connsiteY29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1765979 w 7943414"/>
              <a:gd name="connsiteY21" fmla="*/ 336444 h 354663"/>
              <a:gd name="connsiteX22" fmla="*/ 2094046 w 7943414"/>
              <a:gd name="connsiteY22" fmla="*/ 266642 h 354663"/>
              <a:gd name="connsiteX23" fmla="*/ 1947463 w 7943414"/>
              <a:gd name="connsiteY23" fmla="*/ 22337 h 354663"/>
              <a:gd name="connsiteX24" fmla="*/ 1340190 w 7943414"/>
              <a:gd name="connsiteY24" fmla="*/ 99119 h 354663"/>
              <a:gd name="connsiteX25" fmla="*/ 858559 w 7943414"/>
              <a:gd name="connsiteY25" fmla="*/ 203821 h 354663"/>
              <a:gd name="connsiteX26" fmla="*/ 495591 w 7943414"/>
              <a:gd name="connsiteY26" fmla="*/ 252682 h 354663"/>
              <a:gd name="connsiteX27" fmla="*/ 188464 w 7943414"/>
              <a:gd name="connsiteY27" fmla="*/ 196841 h 354663"/>
              <a:gd name="connsiteX28" fmla="*/ 0 w 7943414"/>
              <a:gd name="connsiteY28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1765979 w 7943414"/>
              <a:gd name="connsiteY21" fmla="*/ 336444 h 354663"/>
              <a:gd name="connsiteX22" fmla="*/ 2094046 w 7943414"/>
              <a:gd name="connsiteY22" fmla="*/ 266642 h 354663"/>
              <a:gd name="connsiteX23" fmla="*/ 1947463 w 7943414"/>
              <a:gd name="connsiteY23" fmla="*/ 22337 h 354663"/>
              <a:gd name="connsiteX24" fmla="*/ 1340190 w 7943414"/>
              <a:gd name="connsiteY24" fmla="*/ 99119 h 354663"/>
              <a:gd name="connsiteX25" fmla="*/ 858559 w 7943414"/>
              <a:gd name="connsiteY25" fmla="*/ 203821 h 354663"/>
              <a:gd name="connsiteX26" fmla="*/ 495591 w 7943414"/>
              <a:gd name="connsiteY26" fmla="*/ 252682 h 354663"/>
              <a:gd name="connsiteX27" fmla="*/ 188464 w 7943414"/>
              <a:gd name="connsiteY27" fmla="*/ 196841 h 354663"/>
              <a:gd name="connsiteX28" fmla="*/ 0 w 7943414"/>
              <a:gd name="connsiteY28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2094046 w 7943414"/>
              <a:gd name="connsiteY21" fmla="*/ 266642 h 354663"/>
              <a:gd name="connsiteX22" fmla="*/ 1947463 w 7943414"/>
              <a:gd name="connsiteY22" fmla="*/ 22337 h 354663"/>
              <a:gd name="connsiteX23" fmla="*/ 1340190 w 7943414"/>
              <a:gd name="connsiteY23" fmla="*/ 99119 h 354663"/>
              <a:gd name="connsiteX24" fmla="*/ 858559 w 7943414"/>
              <a:gd name="connsiteY24" fmla="*/ 203821 h 354663"/>
              <a:gd name="connsiteX25" fmla="*/ 495591 w 7943414"/>
              <a:gd name="connsiteY25" fmla="*/ 252682 h 354663"/>
              <a:gd name="connsiteX26" fmla="*/ 188464 w 7943414"/>
              <a:gd name="connsiteY26" fmla="*/ 196841 h 354663"/>
              <a:gd name="connsiteX27" fmla="*/ 0 w 7943414"/>
              <a:gd name="connsiteY27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2094046 w 7943414"/>
              <a:gd name="connsiteY21" fmla="*/ 266642 h 354663"/>
              <a:gd name="connsiteX22" fmla="*/ 1947463 w 7943414"/>
              <a:gd name="connsiteY22" fmla="*/ 22337 h 354663"/>
              <a:gd name="connsiteX23" fmla="*/ 1340190 w 7943414"/>
              <a:gd name="connsiteY23" fmla="*/ 99119 h 354663"/>
              <a:gd name="connsiteX24" fmla="*/ 858559 w 7943414"/>
              <a:gd name="connsiteY24" fmla="*/ 203821 h 354663"/>
              <a:gd name="connsiteX25" fmla="*/ 495591 w 7943414"/>
              <a:gd name="connsiteY25" fmla="*/ 252682 h 354663"/>
              <a:gd name="connsiteX26" fmla="*/ 188464 w 7943414"/>
              <a:gd name="connsiteY26" fmla="*/ 196841 h 354663"/>
              <a:gd name="connsiteX27" fmla="*/ 0 w 7943414"/>
              <a:gd name="connsiteY27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598455 w 7943414"/>
              <a:gd name="connsiteY19" fmla="*/ 245702 h 354663"/>
              <a:gd name="connsiteX20" fmla="*/ 2094046 w 7943414"/>
              <a:gd name="connsiteY20" fmla="*/ 266642 h 354663"/>
              <a:gd name="connsiteX21" fmla="*/ 1947463 w 7943414"/>
              <a:gd name="connsiteY21" fmla="*/ 22337 h 354663"/>
              <a:gd name="connsiteX22" fmla="*/ 1340190 w 7943414"/>
              <a:gd name="connsiteY22" fmla="*/ 99119 h 354663"/>
              <a:gd name="connsiteX23" fmla="*/ 858559 w 7943414"/>
              <a:gd name="connsiteY23" fmla="*/ 203821 h 354663"/>
              <a:gd name="connsiteX24" fmla="*/ 495591 w 7943414"/>
              <a:gd name="connsiteY24" fmla="*/ 252682 h 354663"/>
              <a:gd name="connsiteX25" fmla="*/ 188464 w 7943414"/>
              <a:gd name="connsiteY25" fmla="*/ 196841 h 354663"/>
              <a:gd name="connsiteX26" fmla="*/ 0 w 7943414"/>
              <a:gd name="connsiteY26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598455 w 7943414"/>
              <a:gd name="connsiteY19" fmla="*/ 245702 h 354663"/>
              <a:gd name="connsiteX20" fmla="*/ 2094046 w 7943414"/>
              <a:gd name="connsiteY20" fmla="*/ 266642 h 354663"/>
              <a:gd name="connsiteX21" fmla="*/ 1947463 w 7943414"/>
              <a:gd name="connsiteY21" fmla="*/ 22337 h 354663"/>
              <a:gd name="connsiteX22" fmla="*/ 1340190 w 7943414"/>
              <a:gd name="connsiteY22" fmla="*/ 99119 h 354663"/>
              <a:gd name="connsiteX23" fmla="*/ 858559 w 7943414"/>
              <a:gd name="connsiteY23" fmla="*/ 203821 h 354663"/>
              <a:gd name="connsiteX24" fmla="*/ 495591 w 7943414"/>
              <a:gd name="connsiteY24" fmla="*/ 252682 h 354663"/>
              <a:gd name="connsiteX25" fmla="*/ 188464 w 7943414"/>
              <a:gd name="connsiteY25" fmla="*/ 196841 h 354663"/>
              <a:gd name="connsiteX26" fmla="*/ 0 w 7943414"/>
              <a:gd name="connsiteY26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598455 w 7943414"/>
              <a:gd name="connsiteY19" fmla="*/ 245702 h 354663"/>
              <a:gd name="connsiteX20" fmla="*/ 2094046 w 7943414"/>
              <a:gd name="connsiteY20" fmla="*/ 266642 h 354663"/>
              <a:gd name="connsiteX21" fmla="*/ 1947463 w 7943414"/>
              <a:gd name="connsiteY21" fmla="*/ 22337 h 354663"/>
              <a:gd name="connsiteX22" fmla="*/ 1340190 w 7943414"/>
              <a:gd name="connsiteY22" fmla="*/ 99119 h 354663"/>
              <a:gd name="connsiteX23" fmla="*/ 858559 w 7943414"/>
              <a:gd name="connsiteY23" fmla="*/ 203821 h 354663"/>
              <a:gd name="connsiteX24" fmla="*/ 495591 w 7943414"/>
              <a:gd name="connsiteY24" fmla="*/ 252682 h 354663"/>
              <a:gd name="connsiteX25" fmla="*/ 188464 w 7943414"/>
              <a:gd name="connsiteY25" fmla="*/ 196841 h 354663"/>
              <a:gd name="connsiteX26" fmla="*/ 0 w 7943414"/>
              <a:gd name="connsiteY26" fmla="*/ 92138 h 354663"/>
              <a:gd name="connsiteX0" fmla="*/ 7943414 w 7943414"/>
              <a:gd name="connsiteY0" fmla="*/ 89507 h 359012"/>
              <a:gd name="connsiteX1" fmla="*/ 7692129 w 7943414"/>
              <a:gd name="connsiteY1" fmla="*/ 131388 h 359012"/>
              <a:gd name="connsiteX2" fmla="*/ 7622327 w 7943414"/>
              <a:gd name="connsiteY2" fmla="*/ 215150 h 359012"/>
              <a:gd name="connsiteX3" fmla="*/ 7782871 w 7943414"/>
              <a:gd name="connsiteY3" fmla="*/ 229110 h 359012"/>
              <a:gd name="connsiteX4" fmla="*/ 7817771 w 7943414"/>
              <a:gd name="connsiteY4" fmla="*/ 187229 h 359012"/>
              <a:gd name="connsiteX5" fmla="*/ 7622327 w 7943414"/>
              <a:gd name="connsiteY5" fmla="*/ 110448 h 359012"/>
              <a:gd name="connsiteX6" fmla="*/ 6973173 w 7943414"/>
              <a:gd name="connsiteY6" fmla="*/ 166289 h 359012"/>
              <a:gd name="connsiteX7" fmla="*/ 6770748 w 7943414"/>
              <a:gd name="connsiteY7" fmla="*/ 250051 h 359012"/>
              <a:gd name="connsiteX8" fmla="*/ 6735848 w 7943414"/>
              <a:gd name="connsiteY8" fmla="*/ 291932 h 359012"/>
              <a:gd name="connsiteX9" fmla="*/ 6805649 w 7943414"/>
              <a:gd name="connsiteY9" fmla="*/ 347773 h 359012"/>
              <a:gd name="connsiteX10" fmla="*/ 6889411 w 7943414"/>
              <a:gd name="connsiteY10" fmla="*/ 347773 h 359012"/>
              <a:gd name="connsiteX11" fmla="*/ 6728867 w 7943414"/>
              <a:gd name="connsiteY11" fmla="*/ 229110 h 359012"/>
              <a:gd name="connsiteX12" fmla="*/ 6358919 w 7943414"/>
              <a:gd name="connsiteY12" fmla="*/ 117428 h 359012"/>
              <a:gd name="connsiteX13" fmla="*/ 5395658 w 7943414"/>
              <a:gd name="connsiteY13" fmla="*/ 26686 h 359012"/>
              <a:gd name="connsiteX14" fmla="*/ 4104330 w 7943414"/>
              <a:gd name="connsiteY14" fmla="*/ 5745 h 359012"/>
              <a:gd name="connsiteX15" fmla="*/ 2673399 w 7943414"/>
              <a:gd name="connsiteY15" fmla="*/ 117428 h 359012"/>
              <a:gd name="connsiteX16" fmla="*/ 2359292 w 7943414"/>
              <a:gd name="connsiteY16" fmla="*/ 117428 h 359012"/>
              <a:gd name="connsiteX17" fmla="*/ 1933503 w 7943414"/>
              <a:gd name="connsiteY17" fmla="*/ 96487 h 359012"/>
              <a:gd name="connsiteX18" fmla="*/ 1598455 w 7943414"/>
              <a:gd name="connsiteY18" fmla="*/ 250051 h 359012"/>
              <a:gd name="connsiteX19" fmla="*/ 2094046 w 7943414"/>
              <a:gd name="connsiteY19" fmla="*/ 270991 h 359012"/>
              <a:gd name="connsiteX20" fmla="*/ 1947463 w 7943414"/>
              <a:gd name="connsiteY20" fmla="*/ 26686 h 359012"/>
              <a:gd name="connsiteX21" fmla="*/ 1340190 w 7943414"/>
              <a:gd name="connsiteY21" fmla="*/ 103468 h 359012"/>
              <a:gd name="connsiteX22" fmla="*/ 858559 w 7943414"/>
              <a:gd name="connsiteY22" fmla="*/ 208170 h 359012"/>
              <a:gd name="connsiteX23" fmla="*/ 495591 w 7943414"/>
              <a:gd name="connsiteY23" fmla="*/ 257031 h 359012"/>
              <a:gd name="connsiteX24" fmla="*/ 188464 w 7943414"/>
              <a:gd name="connsiteY24" fmla="*/ 201190 h 359012"/>
              <a:gd name="connsiteX25" fmla="*/ 0 w 7943414"/>
              <a:gd name="connsiteY25" fmla="*/ 96487 h 359012"/>
              <a:gd name="connsiteX0" fmla="*/ 7943414 w 7943414"/>
              <a:gd name="connsiteY0" fmla="*/ 89507 h 361328"/>
              <a:gd name="connsiteX1" fmla="*/ 7692129 w 7943414"/>
              <a:gd name="connsiteY1" fmla="*/ 131388 h 361328"/>
              <a:gd name="connsiteX2" fmla="*/ 7622327 w 7943414"/>
              <a:gd name="connsiteY2" fmla="*/ 215150 h 361328"/>
              <a:gd name="connsiteX3" fmla="*/ 7782871 w 7943414"/>
              <a:gd name="connsiteY3" fmla="*/ 229110 h 361328"/>
              <a:gd name="connsiteX4" fmla="*/ 7817771 w 7943414"/>
              <a:gd name="connsiteY4" fmla="*/ 187229 h 361328"/>
              <a:gd name="connsiteX5" fmla="*/ 7622327 w 7943414"/>
              <a:gd name="connsiteY5" fmla="*/ 110448 h 361328"/>
              <a:gd name="connsiteX6" fmla="*/ 6973173 w 7943414"/>
              <a:gd name="connsiteY6" fmla="*/ 166289 h 361328"/>
              <a:gd name="connsiteX7" fmla="*/ 6770748 w 7943414"/>
              <a:gd name="connsiteY7" fmla="*/ 250051 h 361328"/>
              <a:gd name="connsiteX8" fmla="*/ 6805649 w 7943414"/>
              <a:gd name="connsiteY8" fmla="*/ 347773 h 361328"/>
              <a:gd name="connsiteX9" fmla="*/ 6889411 w 7943414"/>
              <a:gd name="connsiteY9" fmla="*/ 347773 h 361328"/>
              <a:gd name="connsiteX10" fmla="*/ 6728867 w 7943414"/>
              <a:gd name="connsiteY10" fmla="*/ 229110 h 361328"/>
              <a:gd name="connsiteX11" fmla="*/ 6358919 w 7943414"/>
              <a:gd name="connsiteY11" fmla="*/ 117428 h 361328"/>
              <a:gd name="connsiteX12" fmla="*/ 5395658 w 7943414"/>
              <a:gd name="connsiteY12" fmla="*/ 26686 h 361328"/>
              <a:gd name="connsiteX13" fmla="*/ 4104330 w 7943414"/>
              <a:gd name="connsiteY13" fmla="*/ 5745 h 361328"/>
              <a:gd name="connsiteX14" fmla="*/ 2673399 w 7943414"/>
              <a:gd name="connsiteY14" fmla="*/ 117428 h 361328"/>
              <a:gd name="connsiteX15" fmla="*/ 2359292 w 7943414"/>
              <a:gd name="connsiteY15" fmla="*/ 117428 h 361328"/>
              <a:gd name="connsiteX16" fmla="*/ 1933503 w 7943414"/>
              <a:gd name="connsiteY16" fmla="*/ 96487 h 361328"/>
              <a:gd name="connsiteX17" fmla="*/ 1598455 w 7943414"/>
              <a:gd name="connsiteY17" fmla="*/ 250051 h 361328"/>
              <a:gd name="connsiteX18" fmla="*/ 2094046 w 7943414"/>
              <a:gd name="connsiteY18" fmla="*/ 270991 h 361328"/>
              <a:gd name="connsiteX19" fmla="*/ 1947463 w 7943414"/>
              <a:gd name="connsiteY19" fmla="*/ 26686 h 361328"/>
              <a:gd name="connsiteX20" fmla="*/ 1340190 w 7943414"/>
              <a:gd name="connsiteY20" fmla="*/ 103468 h 361328"/>
              <a:gd name="connsiteX21" fmla="*/ 858559 w 7943414"/>
              <a:gd name="connsiteY21" fmla="*/ 208170 h 361328"/>
              <a:gd name="connsiteX22" fmla="*/ 495591 w 7943414"/>
              <a:gd name="connsiteY22" fmla="*/ 257031 h 361328"/>
              <a:gd name="connsiteX23" fmla="*/ 188464 w 7943414"/>
              <a:gd name="connsiteY23" fmla="*/ 201190 h 361328"/>
              <a:gd name="connsiteX24" fmla="*/ 0 w 7943414"/>
              <a:gd name="connsiteY24" fmla="*/ 96487 h 361328"/>
              <a:gd name="connsiteX0" fmla="*/ 7943414 w 7943414"/>
              <a:gd name="connsiteY0" fmla="*/ 89507 h 378603"/>
              <a:gd name="connsiteX1" fmla="*/ 7692129 w 7943414"/>
              <a:gd name="connsiteY1" fmla="*/ 131388 h 378603"/>
              <a:gd name="connsiteX2" fmla="*/ 7622327 w 7943414"/>
              <a:gd name="connsiteY2" fmla="*/ 215150 h 378603"/>
              <a:gd name="connsiteX3" fmla="*/ 7782871 w 7943414"/>
              <a:gd name="connsiteY3" fmla="*/ 229110 h 378603"/>
              <a:gd name="connsiteX4" fmla="*/ 7817771 w 7943414"/>
              <a:gd name="connsiteY4" fmla="*/ 187229 h 378603"/>
              <a:gd name="connsiteX5" fmla="*/ 7622327 w 7943414"/>
              <a:gd name="connsiteY5" fmla="*/ 110448 h 378603"/>
              <a:gd name="connsiteX6" fmla="*/ 6973173 w 7943414"/>
              <a:gd name="connsiteY6" fmla="*/ 166289 h 378603"/>
              <a:gd name="connsiteX7" fmla="*/ 6770748 w 7943414"/>
              <a:gd name="connsiteY7" fmla="*/ 250051 h 378603"/>
              <a:gd name="connsiteX8" fmla="*/ 6805649 w 7943414"/>
              <a:gd name="connsiteY8" fmla="*/ 347773 h 378603"/>
              <a:gd name="connsiteX9" fmla="*/ 6889411 w 7943414"/>
              <a:gd name="connsiteY9" fmla="*/ 347773 h 378603"/>
              <a:gd name="connsiteX10" fmla="*/ 6728867 w 7943414"/>
              <a:gd name="connsiteY10" fmla="*/ 229110 h 378603"/>
              <a:gd name="connsiteX11" fmla="*/ 6358919 w 7943414"/>
              <a:gd name="connsiteY11" fmla="*/ 117428 h 378603"/>
              <a:gd name="connsiteX12" fmla="*/ 5395658 w 7943414"/>
              <a:gd name="connsiteY12" fmla="*/ 26686 h 378603"/>
              <a:gd name="connsiteX13" fmla="*/ 4104330 w 7943414"/>
              <a:gd name="connsiteY13" fmla="*/ 5745 h 378603"/>
              <a:gd name="connsiteX14" fmla="*/ 2673399 w 7943414"/>
              <a:gd name="connsiteY14" fmla="*/ 117428 h 378603"/>
              <a:gd name="connsiteX15" fmla="*/ 2359292 w 7943414"/>
              <a:gd name="connsiteY15" fmla="*/ 117428 h 378603"/>
              <a:gd name="connsiteX16" fmla="*/ 1933503 w 7943414"/>
              <a:gd name="connsiteY16" fmla="*/ 96487 h 378603"/>
              <a:gd name="connsiteX17" fmla="*/ 1598455 w 7943414"/>
              <a:gd name="connsiteY17" fmla="*/ 250051 h 378603"/>
              <a:gd name="connsiteX18" fmla="*/ 2094046 w 7943414"/>
              <a:gd name="connsiteY18" fmla="*/ 270991 h 378603"/>
              <a:gd name="connsiteX19" fmla="*/ 1947463 w 7943414"/>
              <a:gd name="connsiteY19" fmla="*/ 26686 h 378603"/>
              <a:gd name="connsiteX20" fmla="*/ 1340190 w 7943414"/>
              <a:gd name="connsiteY20" fmla="*/ 103468 h 378603"/>
              <a:gd name="connsiteX21" fmla="*/ 858559 w 7943414"/>
              <a:gd name="connsiteY21" fmla="*/ 208170 h 378603"/>
              <a:gd name="connsiteX22" fmla="*/ 495591 w 7943414"/>
              <a:gd name="connsiteY22" fmla="*/ 257031 h 378603"/>
              <a:gd name="connsiteX23" fmla="*/ 188464 w 7943414"/>
              <a:gd name="connsiteY23" fmla="*/ 201190 h 378603"/>
              <a:gd name="connsiteX24" fmla="*/ 0 w 7943414"/>
              <a:gd name="connsiteY24" fmla="*/ 96487 h 378603"/>
              <a:gd name="connsiteX0" fmla="*/ 7943414 w 7943414"/>
              <a:gd name="connsiteY0" fmla="*/ 89507 h 399934"/>
              <a:gd name="connsiteX1" fmla="*/ 7692129 w 7943414"/>
              <a:gd name="connsiteY1" fmla="*/ 131388 h 399934"/>
              <a:gd name="connsiteX2" fmla="*/ 7622327 w 7943414"/>
              <a:gd name="connsiteY2" fmla="*/ 215150 h 399934"/>
              <a:gd name="connsiteX3" fmla="*/ 7782871 w 7943414"/>
              <a:gd name="connsiteY3" fmla="*/ 229110 h 399934"/>
              <a:gd name="connsiteX4" fmla="*/ 7817771 w 7943414"/>
              <a:gd name="connsiteY4" fmla="*/ 187229 h 399934"/>
              <a:gd name="connsiteX5" fmla="*/ 7622327 w 7943414"/>
              <a:gd name="connsiteY5" fmla="*/ 110448 h 399934"/>
              <a:gd name="connsiteX6" fmla="*/ 6973173 w 7943414"/>
              <a:gd name="connsiteY6" fmla="*/ 166289 h 399934"/>
              <a:gd name="connsiteX7" fmla="*/ 6770748 w 7943414"/>
              <a:gd name="connsiteY7" fmla="*/ 250051 h 399934"/>
              <a:gd name="connsiteX8" fmla="*/ 6766972 w 7943414"/>
              <a:gd name="connsiteY8" fmla="*/ 375694 h 399934"/>
              <a:gd name="connsiteX9" fmla="*/ 6889411 w 7943414"/>
              <a:gd name="connsiteY9" fmla="*/ 347773 h 399934"/>
              <a:gd name="connsiteX10" fmla="*/ 6728867 w 7943414"/>
              <a:gd name="connsiteY10" fmla="*/ 229110 h 399934"/>
              <a:gd name="connsiteX11" fmla="*/ 6358919 w 7943414"/>
              <a:gd name="connsiteY11" fmla="*/ 117428 h 399934"/>
              <a:gd name="connsiteX12" fmla="*/ 5395658 w 7943414"/>
              <a:gd name="connsiteY12" fmla="*/ 26686 h 399934"/>
              <a:gd name="connsiteX13" fmla="*/ 4104330 w 7943414"/>
              <a:gd name="connsiteY13" fmla="*/ 5745 h 399934"/>
              <a:gd name="connsiteX14" fmla="*/ 2673399 w 7943414"/>
              <a:gd name="connsiteY14" fmla="*/ 117428 h 399934"/>
              <a:gd name="connsiteX15" fmla="*/ 2359292 w 7943414"/>
              <a:gd name="connsiteY15" fmla="*/ 117428 h 399934"/>
              <a:gd name="connsiteX16" fmla="*/ 1933503 w 7943414"/>
              <a:gd name="connsiteY16" fmla="*/ 96487 h 399934"/>
              <a:gd name="connsiteX17" fmla="*/ 1598455 w 7943414"/>
              <a:gd name="connsiteY17" fmla="*/ 250051 h 399934"/>
              <a:gd name="connsiteX18" fmla="*/ 2094046 w 7943414"/>
              <a:gd name="connsiteY18" fmla="*/ 270991 h 399934"/>
              <a:gd name="connsiteX19" fmla="*/ 1947463 w 7943414"/>
              <a:gd name="connsiteY19" fmla="*/ 26686 h 399934"/>
              <a:gd name="connsiteX20" fmla="*/ 1340190 w 7943414"/>
              <a:gd name="connsiteY20" fmla="*/ 103468 h 399934"/>
              <a:gd name="connsiteX21" fmla="*/ 858559 w 7943414"/>
              <a:gd name="connsiteY21" fmla="*/ 208170 h 399934"/>
              <a:gd name="connsiteX22" fmla="*/ 495591 w 7943414"/>
              <a:gd name="connsiteY22" fmla="*/ 257031 h 399934"/>
              <a:gd name="connsiteX23" fmla="*/ 188464 w 7943414"/>
              <a:gd name="connsiteY23" fmla="*/ 201190 h 399934"/>
              <a:gd name="connsiteX24" fmla="*/ 0 w 7943414"/>
              <a:gd name="connsiteY24" fmla="*/ 96487 h 399934"/>
              <a:gd name="connsiteX0" fmla="*/ 7943414 w 7943414"/>
              <a:gd name="connsiteY0" fmla="*/ 89507 h 408104"/>
              <a:gd name="connsiteX1" fmla="*/ 7692129 w 7943414"/>
              <a:gd name="connsiteY1" fmla="*/ 131388 h 408104"/>
              <a:gd name="connsiteX2" fmla="*/ 7622327 w 7943414"/>
              <a:gd name="connsiteY2" fmla="*/ 215150 h 408104"/>
              <a:gd name="connsiteX3" fmla="*/ 7782871 w 7943414"/>
              <a:gd name="connsiteY3" fmla="*/ 229110 h 408104"/>
              <a:gd name="connsiteX4" fmla="*/ 7817771 w 7943414"/>
              <a:gd name="connsiteY4" fmla="*/ 187229 h 408104"/>
              <a:gd name="connsiteX5" fmla="*/ 7622327 w 7943414"/>
              <a:gd name="connsiteY5" fmla="*/ 110448 h 408104"/>
              <a:gd name="connsiteX6" fmla="*/ 6973173 w 7943414"/>
              <a:gd name="connsiteY6" fmla="*/ 166289 h 408104"/>
              <a:gd name="connsiteX7" fmla="*/ 6770748 w 7943414"/>
              <a:gd name="connsiteY7" fmla="*/ 250051 h 408104"/>
              <a:gd name="connsiteX8" fmla="*/ 6766972 w 7943414"/>
              <a:gd name="connsiteY8" fmla="*/ 375694 h 408104"/>
              <a:gd name="connsiteX9" fmla="*/ 6889411 w 7943414"/>
              <a:gd name="connsiteY9" fmla="*/ 347773 h 408104"/>
              <a:gd name="connsiteX10" fmla="*/ 6728867 w 7943414"/>
              <a:gd name="connsiteY10" fmla="*/ 229110 h 408104"/>
              <a:gd name="connsiteX11" fmla="*/ 6358919 w 7943414"/>
              <a:gd name="connsiteY11" fmla="*/ 117428 h 408104"/>
              <a:gd name="connsiteX12" fmla="*/ 5395658 w 7943414"/>
              <a:gd name="connsiteY12" fmla="*/ 26686 h 408104"/>
              <a:gd name="connsiteX13" fmla="*/ 4104330 w 7943414"/>
              <a:gd name="connsiteY13" fmla="*/ 5745 h 408104"/>
              <a:gd name="connsiteX14" fmla="*/ 2673399 w 7943414"/>
              <a:gd name="connsiteY14" fmla="*/ 117428 h 408104"/>
              <a:gd name="connsiteX15" fmla="*/ 2359292 w 7943414"/>
              <a:gd name="connsiteY15" fmla="*/ 117428 h 408104"/>
              <a:gd name="connsiteX16" fmla="*/ 1933503 w 7943414"/>
              <a:gd name="connsiteY16" fmla="*/ 96487 h 408104"/>
              <a:gd name="connsiteX17" fmla="*/ 1598455 w 7943414"/>
              <a:gd name="connsiteY17" fmla="*/ 250051 h 408104"/>
              <a:gd name="connsiteX18" fmla="*/ 2094046 w 7943414"/>
              <a:gd name="connsiteY18" fmla="*/ 270991 h 408104"/>
              <a:gd name="connsiteX19" fmla="*/ 1947463 w 7943414"/>
              <a:gd name="connsiteY19" fmla="*/ 26686 h 408104"/>
              <a:gd name="connsiteX20" fmla="*/ 1340190 w 7943414"/>
              <a:gd name="connsiteY20" fmla="*/ 103468 h 408104"/>
              <a:gd name="connsiteX21" fmla="*/ 858559 w 7943414"/>
              <a:gd name="connsiteY21" fmla="*/ 208170 h 408104"/>
              <a:gd name="connsiteX22" fmla="*/ 495591 w 7943414"/>
              <a:gd name="connsiteY22" fmla="*/ 257031 h 408104"/>
              <a:gd name="connsiteX23" fmla="*/ 188464 w 7943414"/>
              <a:gd name="connsiteY23" fmla="*/ 201190 h 408104"/>
              <a:gd name="connsiteX24" fmla="*/ 0 w 7943414"/>
              <a:gd name="connsiteY24" fmla="*/ 96487 h 40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943414" h="408104">
                <a:moveTo>
                  <a:pt x="7943414" y="89507"/>
                </a:moveTo>
                <a:cubicBezTo>
                  <a:pt x="7844529" y="99977"/>
                  <a:pt x="7745644" y="110447"/>
                  <a:pt x="7692129" y="131388"/>
                </a:cubicBezTo>
                <a:cubicBezTo>
                  <a:pt x="7638614" y="152329"/>
                  <a:pt x="7607203" y="198863"/>
                  <a:pt x="7622327" y="215150"/>
                </a:cubicBezTo>
                <a:cubicBezTo>
                  <a:pt x="7637451" y="231437"/>
                  <a:pt x="7750297" y="233764"/>
                  <a:pt x="7782871" y="229110"/>
                </a:cubicBezTo>
                <a:cubicBezTo>
                  <a:pt x="7815445" y="224456"/>
                  <a:pt x="7844528" y="207006"/>
                  <a:pt x="7817771" y="187229"/>
                </a:cubicBezTo>
                <a:cubicBezTo>
                  <a:pt x="7791014" y="167452"/>
                  <a:pt x="7763093" y="113938"/>
                  <a:pt x="7622327" y="110448"/>
                </a:cubicBezTo>
                <a:cubicBezTo>
                  <a:pt x="7481561" y="106958"/>
                  <a:pt x="7115103" y="143022"/>
                  <a:pt x="6973173" y="166289"/>
                </a:cubicBezTo>
                <a:cubicBezTo>
                  <a:pt x="6831243" y="189556"/>
                  <a:pt x="6805115" y="215150"/>
                  <a:pt x="6770748" y="250051"/>
                </a:cubicBezTo>
                <a:cubicBezTo>
                  <a:pt x="6736381" y="284952"/>
                  <a:pt x="6650502" y="317526"/>
                  <a:pt x="6766972" y="375694"/>
                </a:cubicBezTo>
                <a:cubicBezTo>
                  <a:pt x="6883442" y="433862"/>
                  <a:pt x="6921548" y="407105"/>
                  <a:pt x="6889411" y="347773"/>
                </a:cubicBezTo>
                <a:cubicBezTo>
                  <a:pt x="6857274" y="288441"/>
                  <a:pt x="6817282" y="267501"/>
                  <a:pt x="6728867" y="229110"/>
                </a:cubicBezTo>
                <a:cubicBezTo>
                  <a:pt x="6640452" y="190719"/>
                  <a:pt x="6581120" y="151165"/>
                  <a:pt x="6358919" y="117428"/>
                </a:cubicBezTo>
                <a:cubicBezTo>
                  <a:pt x="6136718" y="83691"/>
                  <a:pt x="5771423" y="45300"/>
                  <a:pt x="5395658" y="26686"/>
                </a:cubicBezTo>
                <a:cubicBezTo>
                  <a:pt x="5019893" y="8072"/>
                  <a:pt x="4558040" y="-9379"/>
                  <a:pt x="4104330" y="5745"/>
                </a:cubicBezTo>
                <a:cubicBezTo>
                  <a:pt x="3650620" y="20869"/>
                  <a:pt x="2964239" y="98814"/>
                  <a:pt x="2673399" y="117428"/>
                </a:cubicBezTo>
                <a:cubicBezTo>
                  <a:pt x="2382559" y="136042"/>
                  <a:pt x="2482608" y="120918"/>
                  <a:pt x="2359292" y="117428"/>
                </a:cubicBezTo>
                <a:cubicBezTo>
                  <a:pt x="2235976" y="113938"/>
                  <a:pt x="2060309" y="74383"/>
                  <a:pt x="1933503" y="96487"/>
                </a:cubicBezTo>
                <a:cubicBezTo>
                  <a:pt x="1806697" y="118591"/>
                  <a:pt x="1565252" y="123245"/>
                  <a:pt x="1598455" y="250051"/>
                </a:cubicBezTo>
                <a:cubicBezTo>
                  <a:pt x="1631658" y="376857"/>
                  <a:pt x="2022986" y="336138"/>
                  <a:pt x="2094046" y="270991"/>
                </a:cubicBezTo>
                <a:cubicBezTo>
                  <a:pt x="2165106" y="205844"/>
                  <a:pt x="2073106" y="54606"/>
                  <a:pt x="1947463" y="26686"/>
                </a:cubicBezTo>
                <a:cubicBezTo>
                  <a:pt x="1821820" y="-1234"/>
                  <a:pt x="1521674" y="73221"/>
                  <a:pt x="1340190" y="103468"/>
                </a:cubicBezTo>
                <a:cubicBezTo>
                  <a:pt x="1158706" y="133715"/>
                  <a:pt x="999325" y="182576"/>
                  <a:pt x="858559" y="208170"/>
                </a:cubicBezTo>
                <a:cubicBezTo>
                  <a:pt x="717793" y="233764"/>
                  <a:pt x="607273" y="258194"/>
                  <a:pt x="495591" y="257031"/>
                </a:cubicBezTo>
                <a:cubicBezTo>
                  <a:pt x="383909" y="255868"/>
                  <a:pt x="271062" y="227947"/>
                  <a:pt x="188464" y="201190"/>
                </a:cubicBezTo>
                <a:cubicBezTo>
                  <a:pt x="105866" y="174433"/>
                  <a:pt x="52933" y="135460"/>
                  <a:pt x="0" y="96487"/>
                </a:cubicBezTo>
              </a:path>
            </a:pathLst>
          </a:cu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182" tIns="44591" rIns="89182" bIns="44591" rtlCol="0" anchor="ctr"/>
          <a:lstStyle/>
          <a:p>
            <a:pPr algn="ctr" defTabSz="912582"/>
            <a:endParaRPr lang="en-US">
              <a:solidFill>
                <a:srgbClr val="FFFFFF"/>
              </a:solidFill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86395" flipH="1">
            <a:off x="178036" y="58614"/>
            <a:ext cx="465283" cy="51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3543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14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252424" marR="0" indent="-252424" algn="l" defTabSz="912272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9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34370" marR="0" indent="-110715" algn="l" defTabSz="912272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7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78701" marR="0" indent="-267183" algn="l" defTabSz="912272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7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51932" marR="0" indent="-195563" algn="l" defTabSz="91251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157" indent="-228130" algn="l" defTabSz="912514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09414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669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924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181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5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58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14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74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025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285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541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797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052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resa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0"/>
            <a:ext cx="8075612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40"/>
            <a:ext cx="8229600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AEF54A7-57B6-4776-BD1A-4E9D8C5CA0CD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764704" y="6616700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Calibri" pitchFamily="34" charset="0"/>
                <a:cs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2CE974-DCE6-4129-8EA7-D12A3E7A910B}" type="slidenum">
              <a:rPr lang="ru-RU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4712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1" r:id="rId1"/>
    <p:sldLayoutId id="2147483832" r:id="rId2"/>
    <p:sldLayoutId id="2147483833" r:id="rId3"/>
    <p:sldLayoutId id="2147483834" r:id="rId4"/>
    <p:sldLayoutId id="2147483835" r:id="rId5"/>
    <p:sldLayoutId id="2147483836" r:id="rId6"/>
    <p:sldLayoutId id="2147483837" r:id="rId7"/>
    <p:sldLayoutId id="2147483838" r:id="rId8"/>
    <p:sldLayoutId id="2147483839" r:id="rId9"/>
    <p:sldLayoutId id="2147483840" r:id="rId10"/>
    <p:sldLayoutId id="2147483841" r:id="rId11"/>
    <p:sldLayoutId id="2147483842" r:id="rId12"/>
    <p:sldLayoutId id="2147483843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5pPr>
      <a:lvl6pPr marL="45710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42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132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843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832" indent="-342832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rtl="0" eaLnBrk="1" fontAlgn="base" hangingPunct="1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2773" indent="-228555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9882" indent="-228555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6990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099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20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831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5427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presa3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0"/>
            <a:ext cx="8075612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40"/>
            <a:ext cx="8229600" cy="500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692694" y="661670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Calibri" pitchFamily="34" charset="0"/>
                <a:cs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9F6F73-E8FF-4429-9ADD-32F8BBD0BEAD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8204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5" r:id="rId1"/>
    <p:sldLayoutId id="2147483846" r:id="rId2"/>
    <p:sldLayoutId id="2147483847" r:id="rId3"/>
    <p:sldLayoutId id="2147483848" r:id="rId4"/>
    <p:sldLayoutId id="2147483849" r:id="rId5"/>
    <p:sldLayoutId id="2147483850" r:id="rId6"/>
    <p:sldLayoutId id="2147483851" r:id="rId7"/>
    <p:sldLayoutId id="2147483852" r:id="rId8"/>
    <p:sldLayoutId id="2147483853" r:id="rId9"/>
    <p:sldLayoutId id="2147483854" r:id="rId10"/>
    <p:sldLayoutId id="2147483855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5pPr>
      <a:lvl6pPr marL="45710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42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132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843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832" indent="-342832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rtl="0" eaLnBrk="1" fontAlgn="base" hangingPunct="1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2773" indent="-228555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9882" indent="-228555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6990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099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20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831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5427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0" descr="2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1619250" y="692150"/>
            <a:ext cx="6705600" cy="655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2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905000"/>
            <a:ext cx="7499350" cy="3684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12646" name="Rectangle 6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2647" name="Rectangle 7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mtClean="0">
                <a:solidFill>
                  <a:srgbClr val="000000"/>
                </a:solidFill>
              </a:rPr>
              <a:t>Данные </a:t>
            </a:r>
            <a:r>
              <a:rPr lang="en-US" smtClean="0">
                <a:solidFill>
                  <a:srgbClr val="000000"/>
                </a:solidFill>
              </a:rPr>
              <a:t>ACN 2011-2012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12648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666054" y="661987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10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69AADDF-1288-47B0-96A3-05680D9DD5D3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974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</p:sldLayoutIdLst>
  <p:hf hdr="0" ft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5pPr>
      <a:lvl6pPr marL="457109"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6pPr>
      <a:lvl7pPr marL="914218"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7pPr>
      <a:lvl8pPr marL="1371326"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8pPr>
      <a:lvl9pPr marL="1828436" algn="ctr" rtl="0" eaLnBrk="1" fontAlgn="base" hangingPunct="1"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Times New Roman" pitchFamily="18" charset="0"/>
        </a:defRPr>
      </a:lvl9pPr>
    </p:titleStyle>
    <p:bodyStyle>
      <a:lvl1pPr marL="342832" indent="-342832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2773" indent="-228555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599882" indent="-228555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6990" indent="-22855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099" indent="-22855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208" indent="-22855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8318" indent="-22855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5427" indent="-228555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resa3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0" y="248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1"/>
            <a:ext cx="8075612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2" tIns="45665" rIns="91332" bIns="4566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61"/>
            <a:ext cx="8229600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37"/>
            <a:ext cx="2133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defTabSz="913768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37"/>
            <a:ext cx="2895600" cy="47625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332" tIns="45665" rIns="91332" bIns="45665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defTabSz="913768"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4763" y="1016245"/>
            <a:ext cx="9144000" cy="73025"/>
          </a:xfrm>
          <a:prstGeom prst="roundRect">
            <a:avLst/>
          </a:prstGeom>
          <a:solidFill>
            <a:srgbClr val="339933"/>
          </a:solidFill>
          <a:ln w="15875">
            <a:solidFill>
              <a:srgbClr val="33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32" tIns="45665" rIns="91332" bIns="45665"/>
          <a:lstStyle/>
          <a:p>
            <a:pPr defTabSz="913108">
              <a:defRPr/>
            </a:pPr>
            <a:endParaRPr lang="ru-RU" b="1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375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500" b="1">
          <a:solidFill>
            <a:srgbClr val="339933"/>
          </a:solidFill>
          <a:latin typeface="Verdana" pitchFamily="34" charset="0"/>
        </a:defRPr>
      </a:lvl5pPr>
      <a:lvl6pPr marL="456625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3276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69906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6551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468" indent="-342468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042" indent="-285398" algn="l" rtl="0" eaLnBrk="0" fontAlgn="base" hangingPunct="0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1589" indent="-228312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8220" indent="-228312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4862" indent="-228312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1486" indent="-22831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68129" indent="-22831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4763" indent="-22831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1395" indent="-228312" algn="l" rtl="0" fontAlgn="base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5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76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906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551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175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97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443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3080" algn="l" defTabSz="91327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576064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2" y="6356352"/>
            <a:ext cx="2895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2" y="6356352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  <p:pic>
        <p:nvPicPr>
          <p:cNvPr id="7" name="Picture 2" descr="presa3"/>
          <p:cNvPicPr>
            <a:picLocks noChangeAspect="1" noChangeArrowheads="1"/>
          </p:cNvPicPr>
          <p:nvPr userDrawn="1"/>
        </p:nvPicPr>
        <p:blipFill>
          <a:blip r:embed="rId13"/>
          <a:srcRect/>
          <a:stretch>
            <a:fillRect/>
          </a:stretch>
        </p:blipFill>
        <p:spPr bwMode="auto">
          <a:xfrm>
            <a:off x="0" y="15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 userDrawn="1"/>
        </p:nvSpPr>
        <p:spPr>
          <a:xfrm>
            <a:off x="4763" y="1016013"/>
            <a:ext cx="9144000" cy="73025"/>
          </a:xfrm>
          <a:prstGeom prst="roundRect">
            <a:avLst/>
          </a:prstGeom>
          <a:solidFill>
            <a:srgbClr val="339933"/>
          </a:solidFill>
          <a:ln w="15875">
            <a:solidFill>
              <a:srgbClr val="339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72" tIns="45687" rIns="91372" bIns="45687"/>
          <a:lstStyle/>
          <a:p>
            <a:pPr defTabSz="913559">
              <a:defRPr/>
            </a:pPr>
            <a:endParaRPr lang="ru-RU" b="1" dirty="0">
              <a:solidFill>
                <a:srgbClr val="FFFFFF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83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421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2" indent="-342832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defTabSz="9142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3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2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90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9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8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7" indent="-228555" algn="l" defTabSz="91421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resa3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0"/>
            <a:ext cx="8075612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40"/>
            <a:ext cx="8229600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6A5BF98-9BE0-4555-A736-7F784261ECEF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764704" y="6597352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  <a:cs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2CE974-DCE6-4129-8EA7-D12A3E7A910B}" type="slidenum">
              <a:rPr lang="ru-RU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8460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5pPr>
      <a:lvl6pPr marL="45710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42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132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843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832" indent="-342832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rtl="0" eaLnBrk="1" fontAlgn="base" hangingPunct="1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2773" indent="-228555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9882" indent="-228555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6990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099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20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831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5427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693509" y="385646"/>
            <a:ext cx="7366842" cy="461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66951" bIns="0" numCol="1" anchor="ctr" anchorCtr="0" compatLnSpc="1">
            <a:prstTxWarp prst="textNoShape">
              <a:avLst/>
            </a:prstTxWarp>
            <a:normAutofit/>
          </a:bodyPr>
          <a:lstStyle/>
          <a:p>
            <a:pPr lvl="0"/>
            <a:endParaRPr lang="en-CA" noProof="1" smtClean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>
          <a:xfrm>
            <a:off x="281354" y="1287062"/>
            <a:ext cx="8581293" cy="5095600"/>
          </a:xfrm>
          <a:prstGeom prst="rect">
            <a:avLst/>
          </a:prstGeom>
        </p:spPr>
        <p:txBody>
          <a:bodyPr vert="horz" lIns="85027" tIns="42513" rIns="85027" bIns="42513" rtlCol="0" anchor="t" anchorCtr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169486" y="6407391"/>
            <a:ext cx="6145498" cy="14174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71236" indent="-171236" defTabSz="819267" fontAlgn="t"/>
            <a:endParaRPr lang="en-CA" sz="900" dirty="0">
              <a:solidFill>
                <a:prstClr val="black"/>
              </a:solidFill>
            </a:endParaRPr>
          </a:p>
        </p:txBody>
      </p:sp>
      <p:sp>
        <p:nvSpPr>
          <p:cNvPr id="10" name="VCT_Marker_ID_10" hidden="1"/>
          <p:cNvSpPr/>
          <p:nvPr>
            <p:custDataLst>
              <p:tags r:id="rId14"/>
            </p:custDataLst>
          </p:nvPr>
        </p:nvSpPr>
        <p:spPr>
          <a:xfrm>
            <a:off x="1120934" y="120599"/>
            <a:ext cx="112093" cy="120581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912582"/>
            <a:endParaRPr lang="en-US" sz="1900" dirty="0">
              <a:solidFill>
                <a:prstClr val="black"/>
              </a:solidFill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8155779" y="67533"/>
            <a:ext cx="901303" cy="936734"/>
            <a:chOff x="5681844" y="2979859"/>
            <a:chExt cx="3422510" cy="3283435"/>
          </a:xfrm>
        </p:grpSpPr>
        <p:sp>
          <p:nvSpPr>
            <p:cNvPr id="4" name="Freeform 3"/>
            <p:cNvSpPr/>
            <p:nvPr userDrawn="1"/>
          </p:nvSpPr>
          <p:spPr>
            <a:xfrm>
              <a:off x="5681844" y="3849730"/>
              <a:ext cx="3280998" cy="2413564"/>
            </a:xfrm>
            <a:custGeom>
              <a:avLst/>
              <a:gdLst>
                <a:gd name="connsiteX0" fmla="*/ 1991579 w 3280998"/>
                <a:gd name="connsiteY0" fmla="*/ 6664 h 2413564"/>
                <a:gd name="connsiteX1" fmla="*/ 1454107 w 3280998"/>
                <a:gd name="connsiteY1" fmla="*/ 13644 h 2413564"/>
                <a:gd name="connsiteX2" fmla="*/ 902675 w 3280998"/>
                <a:gd name="connsiteY2" fmla="*/ 111366 h 2413564"/>
                <a:gd name="connsiteX3" fmla="*/ 351243 w 3280998"/>
                <a:gd name="connsiteY3" fmla="*/ 334731 h 2413564"/>
                <a:gd name="connsiteX4" fmla="*/ 120898 w 3280998"/>
                <a:gd name="connsiteY4" fmla="*/ 565076 h 2413564"/>
                <a:gd name="connsiteX5" fmla="*/ 23176 w 3280998"/>
                <a:gd name="connsiteY5" fmla="*/ 851263 h 2413564"/>
                <a:gd name="connsiteX6" fmla="*/ 16196 w 3280998"/>
                <a:gd name="connsiteY6" fmla="*/ 1402695 h 2413564"/>
                <a:gd name="connsiteX7" fmla="*/ 211640 w 3280998"/>
                <a:gd name="connsiteY7" fmla="*/ 1842444 h 2413564"/>
                <a:gd name="connsiteX8" fmla="*/ 553668 w 3280998"/>
                <a:gd name="connsiteY8" fmla="*/ 2156551 h 2413564"/>
                <a:gd name="connsiteX9" fmla="*/ 1014358 w 3280998"/>
                <a:gd name="connsiteY9" fmla="*/ 2365956 h 2413564"/>
                <a:gd name="connsiteX10" fmla="*/ 1761234 w 3280998"/>
                <a:gd name="connsiteY10" fmla="*/ 2407837 h 2413564"/>
                <a:gd name="connsiteX11" fmla="*/ 2410388 w 3280998"/>
                <a:gd name="connsiteY11" fmla="*/ 2275214 h 2413564"/>
                <a:gd name="connsiteX12" fmla="*/ 2836177 w 3280998"/>
                <a:gd name="connsiteY12" fmla="*/ 2051849 h 2413564"/>
                <a:gd name="connsiteX13" fmla="*/ 3136324 w 3280998"/>
                <a:gd name="connsiteY13" fmla="*/ 1730762 h 2413564"/>
                <a:gd name="connsiteX14" fmla="*/ 3275927 w 3280998"/>
                <a:gd name="connsiteY14" fmla="*/ 1353834 h 2413564"/>
                <a:gd name="connsiteX15" fmla="*/ 3213106 w 3280998"/>
                <a:gd name="connsiteY15" fmla="*/ 774481 h 2413564"/>
                <a:gd name="connsiteX16" fmla="*/ 2871078 w 3280998"/>
                <a:gd name="connsiteY16" fmla="*/ 341711 h 2413564"/>
                <a:gd name="connsiteX17" fmla="*/ 2291726 w 3280998"/>
                <a:gd name="connsiteY17" fmla="*/ 69485 h 2413564"/>
                <a:gd name="connsiteX18" fmla="*/ 1991579 w 3280998"/>
                <a:gd name="connsiteY18" fmla="*/ 6664 h 24135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3280998" h="2413564">
                  <a:moveTo>
                    <a:pt x="1991579" y="6664"/>
                  </a:moveTo>
                  <a:cubicBezTo>
                    <a:pt x="1851976" y="-2643"/>
                    <a:pt x="1635591" y="-3806"/>
                    <a:pt x="1454107" y="13644"/>
                  </a:cubicBezTo>
                  <a:cubicBezTo>
                    <a:pt x="1272623" y="31094"/>
                    <a:pt x="1086486" y="57852"/>
                    <a:pt x="902675" y="111366"/>
                  </a:cubicBezTo>
                  <a:cubicBezTo>
                    <a:pt x="718864" y="164881"/>
                    <a:pt x="481539" y="259113"/>
                    <a:pt x="351243" y="334731"/>
                  </a:cubicBezTo>
                  <a:cubicBezTo>
                    <a:pt x="220947" y="410349"/>
                    <a:pt x="175576" y="478987"/>
                    <a:pt x="120898" y="565076"/>
                  </a:cubicBezTo>
                  <a:cubicBezTo>
                    <a:pt x="66220" y="651165"/>
                    <a:pt x="40626" y="711660"/>
                    <a:pt x="23176" y="851263"/>
                  </a:cubicBezTo>
                  <a:cubicBezTo>
                    <a:pt x="5726" y="990866"/>
                    <a:pt x="-15215" y="1237498"/>
                    <a:pt x="16196" y="1402695"/>
                  </a:cubicBezTo>
                  <a:cubicBezTo>
                    <a:pt x="47607" y="1567892"/>
                    <a:pt x="122061" y="1716801"/>
                    <a:pt x="211640" y="1842444"/>
                  </a:cubicBezTo>
                  <a:cubicBezTo>
                    <a:pt x="301219" y="1968087"/>
                    <a:pt x="419882" y="2069299"/>
                    <a:pt x="553668" y="2156551"/>
                  </a:cubicBezTo>
                  <a:cubicBezTo>
                    <a:pt x="687454" y="2243803"/>
                    <a:pt x="813097" y="2324075"/>
                    <a:pt x="1014358" y="2365956"/>
                  </a:cubicBezTo>
                  <a:cubicBezTo>
                    <a:pt x="1215619" y="2407837"/>
                    <a:pt x="1528562" y="2422961"/>
                    <a:pt x="1761234" y="2407837"/>
                  </a:cubicBezTo>
                  <a:cubicBezTo>
                    <a:pt x="1993906" y="2392713"/>
                    <a:pt x="2231231" y="2334545"/>
                    <a:pt x="2410388" y="2275214"/>
                  </a:cubicBezTo>
                  <a:cubicBezTo>
                    <a:pt x="2589545" y="2215883"/>
                    <a:pt x="2715188" y="2142591"/>
                    <a:pt x="2836177" y="2051849"/>
                  </a:cubicBezTo>
                  <a:cubicBezTo>
                    <a:pt x="2957166" y="1961107"/>
                    <a:pt x="3063032" y="1847098"/>
                    <a:pt x="3136324" y="1730762"/>
                  </a:cubicBezTo>
                  <a:cubicBezTo>
                    <a:pt x="3209616" y="1614426"/>
                    <a:pt x="3263130" y="1513214"/>
                    <a:pt x="3275927" y="1353834"/>
                  </a:cubicBezTo>
                  <a:cubicBezTo>
                    <a:pt x="3288724" y="1194454"/>
                    <a:pt x="3280581" y="943168"/>
                    <a:pt x="3213106" y="774481"/>
                  </a:cubicBezTo>
                  <a:cubicBezTo>
                    <a:pt x="3145631" y="605794"/>
                    <a:pt x="3024641" y="459210"/>
                    <a:pt x="2871078" y="341711"/>
                  </a:cubicBezTo>
                  <a:cubicBezTo>
                    <a:pt x="2717515" y="224212"/>
                    <a:pt x="2440636" y="124163"/>
                    <a:pt x="2291726" y="69485"/>
                  </a:cubicBezTo>
                  <a:cubicBezTo>
                    <a:pt x="2142816" y="14807"/>
                    <a:pt x="2131182" y="15971"/>
                    <a:pt x="1991579" y="6664"/>
                  </a:cubicBezTo>
                  <a:close/>
                </a:path>
              </a:pathLst>
            </a:custGeom>
            <a:gradFill>
              <a:gsLst>
                <a:gs pos="7000">
                  <a:srgbClr val="F8B300"/>
                </a:gs>
                <a:gs pos="94000">
                  <a:srgbClr val="EE7E0B"/>
                </a:gs>
              </a:gsLst>
              <a:lin ang="4200000" scaled="0"/>
            </a:gra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5" name="Freeform 4"/>
            <p:cNvSpPr/>
            <p:nvPr userDrawn="1"/>
          </p:nvSpPr>
          <p:spPr>
            <a:xfrm>
              <a:off x="5953426" y="3465530"/>
              <a:ext cx="2726754" cy="2363357"/>
            </a:xfrm>
            <a:custGeom>
              <a:avLst/>
              <a:gdLst>
                <a:gd name="connsiteX0" fmla="*/ 1768858 w 2726754"/>
                <a:gd name="connsiteY0" fmla="*/ 55283 h 2369803"/>
                <a:gd name="connsiteX1" fmla="*/ 1761878 w 2726754"/>
                <a:gd name="connsiteY1" fmla="*/ 334489 h 2369803"/>
                <a:gd name="connsiteX2" fmla="*/ 1678116 w 2726754"/>
                <a:gd name="connsiteY2" fmla="*/ 536913 h 2369803"/>
                <a:gd name="connsiteX3" fmla="*/ 1531533 w 2726754"/>
                <a:gd name="connsiteY3" fmla="*/ 634635 h 2369803"/>
                <a:gd name="connsiteX4" fmla="*/ 1217426 w 2726754"/>
                <a:gd name="connsiteY4" fmla="*/ 613695 h 2369803"/>
                <a:gd name="connsiteX5" fmla="*/ 959160 w 2726754"/>
                <a:gd name="connsiteY5" fmla="*/ 571814 h 2369803"/>
                <a:gd name="connsiteX6" fmla="*/ 631093 w 2726754"/>
                <a:gd name="connsiteY6" fmla="*/ 606715 h 2369803"/>
                <a:gd name="connsiteX7" fmla="*/ 379808 w 2726754"/>
                <a:gd name="connsiteY7" fmla="*/ 690477 h 2369803"/>
                <a:gd name="connsiteX8" fmla="*/ 177383 w 2726754"/>
                <a:gd name="connsiteY8" fmla="*/ 844040 h 2369803"/>
                <a:gd name="connsiteX9" fmla="*/ 58721 w 2726754"/>
                <a:gd name="connsiteY9" fmla="*/ 1102306 h 2369803"/>
                <a:gd name="connsiteX10" fmla="*/ 2879 w 2726754"/>
                <a:gd name="connsiteY10" fmla="*/ 1416412 h 2369803"/>
                <a:gd name="connsiteX11" fmla="*/ 23820 w 2726754"/>
                <a:gd name="connsiteY11" fmla="*/ 1695619 h 2369803"/>
                <a:gd name="connsiteX12" fmla="*/ 156443 w 2726754"/>
                <a:gd name="connsiteY12" fmla="*/ 1995765 h 2369803"/>
                <a:gd name="connsiteX13" fmla="*/ 351887 w 2726754"/>
                <a:gd name="connsiteY13" fmla="*/ 2240070 h 2369803"/>
                <a:gd name="connsiteX14" fmla="*/ 784657 w 2726754"/>
                <a:gd name="connsiteY14" fmla="*/ 2365713 h 2369803"/>
                <a:gd name="connsiteX15" fmla="*/ 1503612 w 2726754"/>
                <a:gd name="connsiteY15" fmla="*/ 2330812 h 2369803"/>
                <a:gd name="connsiteX16" fmla="*/ 2180687 w 2726754"/>
                <a:gd name="connsiteY16" fmla="*/ 2247051 h 2369803"/>
                <a:gd name="connsiteX17" fmla="*/ 2578556 w 2726754"/>
                <a:gd name="connsiteY17" fmla="*/ 2044626 h 2369803"/>
                <a:gd name="connsiteX18" fmla="*/ 2725139 w 2726754"/>
                <a:gd name="connsiteY18" fmla="*/ 1639777 h 2369803"/>
                <a:gd name="connsiteX19" fmla="*/ 2641377 w 2726754"/>
                <a:gd name="connsiteY19" fmla="*/ 1165127 h 2369803"/>
                <a:gd name="connsiteX20" fmla="*/ 2411032 w 2726754"/>
                <a:gd name="connsiteY20" fmla="*/ 899881 h 2369803"/>
                <a:gd name="connsiteX21" fmla="*/ 2159747 w 2726754"/>
                <a:gd name="connsiteY21" fmla="*/ 774238 h 2369803"/>
                <a:gd name="connsiteX22" fmla="*/ 1950342 w 2726754"/>
                <a:gd name="connsiteY22" fmla="*/ 508993 h 2369803"/>
                <a:gd name="connsiteX23" fmla="*/ 1817719 w 2726754"/>
                <a:gd name="connsiteY23" fmla="*/ 41322 h 2369803"/>
                <a:gd name="connsiteX24" fmla="*/ 1768858 w 2726754"/>
                <a:gd name="connsiteY24" fmla="*/ 55283 h 2369803"/>
                <a:gd name="connsiteX0" fmla="*/ 1742664 w 2726754"/>
                <a:gd name="connsiteY0" fmla="*/ 43329 h 2381662"/>
                <a:gd name="connsiteX1" fmla="*/ 1761878 w 2726754"/>
                <a:gd name="connsiteY1" fmla="*/ 346348 h 2381662"/>
                <a:gd name="connsiteX2" fmla="*/ 1678116 w 2726754"/>
                <a:gd name="connsiteY2" fmla="*/ 548772 h 2381662"/>
                <a:gd name="connsiteX3" fmla="*/ 1531533 w 2726754"/>
                <a:gd name="connsiteY3" fmla="*/ 646494 h 2381662"/>
                <a:gd name="connsiteX4" fmla="*/ 1217426 w 2726754"/>
                <a:gd name="connsiteY4" fmla="*/ 625554 h 2381662"/>
                <a:gd name="connsiteX5" fmla="*/ 959160 w 2726754"/>
                <a:gd name="connsiteY5" fmla="*/ 583673 h 2381662"/>
                <a:gd name="connsiteX6" fmla="*/ 631093 w 2726754"/>
                <a:gd name="connsiteY6" fmla="*/ 618574 h 2381662"/>
                <a:gd name="connsiteX7" fmla="*/ 379808 w 2726754"/>
                <a:gd name="connsiteY7" fmla="*/ 702336 h 2381662"/>
                <a:gd name="connsiteX8" fmla="*/ 177383 w 2726754"/>
                <a:gd name="connsiteY8" fmla="*/ 855899 h 2381662"/>
                <a:gd name="connsiteX9" fmla="*/ 58721 w 2726754"/>
                <a:gd name="connsiteY9" fmla="*/ 1114165 h 2381662"/>
                <a:gd name="connsiteX10" fmla="*/ 2879 w 2726754"/>
                <a:gd name="connsiteY10" fmla="*/ 1428271 h 2381662"/>
                <a:gd name="connsiteX11" fmla="*/ 23820 w 2726754"/>
                <a:gd name="connsiteY11" fmla="*/ 1707478 h 2381662"/>
                <a:gd name="connsiteX12" fmla="*/ 156443 w 2726754"/>
                <a:gd name="connsiteY12" fmla="*/ 2007624 h 2381662"/>
                <a:gd name="connsiteX13" fmla="*/ 351887 w 2726754"/>
                <a:gd name="connsiteY13" fmla="*/ 2251929 h 2381662"/>
                <a:gd name="connsiteX14" fmla="*/ 784657 w 2726754"/>
                <a:gd name="connsiteY14" fmla="*/ 2377572 h 2381662"/>
                <a:gd name="connsiteX15" fmla="*/ 1503612 w 2726754"/>
                <a:gd name="connsiteY15" fmla="*/ 2342671 h 2381662"/>
                <a:gd name="connsiteX16" fmla="*/ 2180687 w 2726754"/>
                <a:gd name="connsiteY16" fmla="*/ 2258910 h 2381662"/>
                <a:gd name="connsiteX17" fmla="*/ 2578556 w 2726754"/>
                <a:gd name="connsiteY17" fmla="*/ 2056485 h 2381662"/>
                <a:gd name="connsiteX18" fmla="*/ 2725139 w 2726754"/>
                <a:gd name="connsiteY18" fmla="*/ 1651636 h 2381662"/>
                <a:gd name="connsiteX19" fmla="*/ 2641377 w 2726754"/>
                <a:gd name="connsiteY19" fmla="*/ 1176986 h 2381662"/>
                <a:gd name="connsiteX20" fmla="*/ 2411032 w 2726754"/>
                <a:gd name="connsiteY20" fmla="*/ 911740 h 2381662"/>
                <a:gd name="connsiteX21" fmla="*/ 2159747 w 2726754"/>
                <a:gd name="connsiteY21" fmla="*/ 786097 h 2381662"/>
                <a:gd name="connsiteX22" fmla="*/ 1950342 w 2726754"/>
                <a:gd name="connsiteY22" fmla="*/ 520852 h 2381662"/>
                <a:gd name="connsiteX23" fmla="*/ 1817719 w 2726754"/>
                <a:gd name="connsiteY23" fmla="*/ 53181 h 2381662"/>
                <a:gd name="connsiteX24" fmla="*/ 1742664 w 2726754"/>
                <a:gd name="connsiteY24" fmla="*/ 43329 h 2381662"/>
                <a:gd name="connsiteX0" fmla="*/ 1742664 w 2726754"/>
                <a:gd name="connsiteY0" fmla="*/ 0 h 2338333"/>
                <a:gd name="connsiteX1" fmla="*/ 1761878 w 2726754"/>
                <a:gd name="connsiteY1" fmla="*/ 303019 h 2338333"/>
                <a:gd name="connsiteX2" fmla="*/ 1678116 w 2726754"/>
                <a:gd name="connsiteY2" fmla="*/ 505443 h 2338333"/>
                <a:gd name="connsiteX3" fmla="*/ 1531533 w 2726754"/>
                <a:gd name="connsiteY3" fmla="*/ 603165 h 2338333"/>
                <a:gd name="connsiteX4" fmla="*/ 1217426 w 2726754"/>
                <a:gd name="connsiteY4" fmla="*/ 582225 h 2338333"/>
                <a:gd name="connsiteX5" fmla="*/ 959160 w 2726754"/>
                <a:gd name="connsiteY5" fmla="*/ 540344 h 2338333"/>
                <a:gd name="connsiteX6" fmla="*/ 631093 w 2726754"/>
                <a:gd name="connsiteY6" fmla="*/ 575245 h 2338333"/>
                <a:gd name="connsiteX7" fmla="*/ 379808 w 2726754"/>
                <a:gd name="connsiteY7" fmla="*/ 659007 h 2338333"/>
                <a:gd name="connsiteX8" fmla="*/ 177383 w 2726754"/>
                <a:gd name="connsiteY8" fmla="*/ 812570 h 2338333"/>
                <a:gd name="connsiteX9" fmla="*/ 58721 w 2726754"/>
                <a:gd name="connsiteY9" fmla="*/ 1070836 h 2338333"/>
                <a:gd name="connsiteX10" fmla="*/ 2879 w 2726754"/>
                <a:gd name="connsiteY10" fmla="*/ 1384942 h 2338333"/>
                <a:gd name="connsiteX11" fmla="*/ 23820 w 2726754"/>
                <a:gd name="connsiteY11" fmla="*/ 1664149 h 2338333"/>
                <a:gd name="connsiteX12" fmla="*/ 156443 w 2726754"/>
                <a:gd name="connsiteY12" fmla="*/ 1964295 h 2338333"/>
                <a:gd name="connsiteX13" fmla="*/ 351887 w 2726754"/>
                <a:gd name="connsiteY13" fmla="*/ 2208600 h 2338333"/>
                <a:gd name="connsiteX14" fmla="*/ 784657 w 2726754"/>
                <a:gd name="connsiteY14" fmla="*/ 2334243 h 2338333"/>
                <a:gd name="connsiteX15" fmla="*/ 1503612 w 2726754"/>
                <a:gd name="connsiteY15" fmla="*/ 2299342 h 2338333"/>
                <a:gd name="connsiteX16" fmla="*/ 2180687 w 2726754"/>
                <a:gd name="connsiteY16" fmla="*/ 2215581 h 2338333"/>
                <a:gd name="connsiteX17" fmla="*/ 2578556 w 2726754"/>
                <a:gd name="connsiteY17" fmla="*/ 2013156 h 2338333"/>
                <a:gd name="connsiteX18" fmla="*/ 2725139 w 2726754"/>
                <a:gd name="connsiteY18" fmla="*/ 1608307 h 2338333"/>
                <a:gd name="connsiteX19" fmla="*/ 2641377 w 2726754"/>
                <a:gd name="connsiteY19" fmla="*/ 1133657 h 2338333"/>
                <a:gd name="connsiteX20" fmla="*/ 2411032 w 2726754"/>
                <a:gd name="connsiteY20" fmla="*/ 868411 h 2338333"/>
                <a:gd name="connsiteX21" fmla="*/ 2159747 w 2726754"/>
                <a:gd name="connsiteY21" fmla="*/ 742768 h 2338333"/>
                <a:gd name="connsiteX22" fmla="*/ 1950342 w 2726754"/>
                <a:gd name="connsiteY22" fmla="*/ 477523 h 2338333"/>
                <a:gd name="connsiteX23" fmla="*/ 1817719 w 2726754"/>
                <a:gd name="connsiteY23" fmla="*/ 9852 h 2338333"/>
                <a:gd name="connsiteX24" fmla="*/ 1742664 w 2726754"/>
                <a:gd name="connsiteY24" fmla="*/ 0 h 2338333"/>
                <a:gd name="connsiteX0" fmla="*/ 1742664 w 2726754"/>
                <a:gd name="connsiteY0" fmla="*/ 31422 h 2369755"/>
                <a:gd name="connsiteX1" fmla="*/ 1761878 w 2726754"/>
                <a:gd name="connsiteY1" fmla="*/ 334441 h 2369755"/>
                <a:gd name="connsiteX2" fmla="*/ 1678116 w 2726754"/>
                <a:gd name="connsiteY2" fmla="*/ 536865 h 2369755"/>
                <a:gd name="connsiteX3" fmla="*/ 1531533 w 2726754"/>
                <a:gd name="connsiteY3" fmla="*/ 634587 h 2369755"/>
                <a:gd name="connsiteX4" fmla="*/ 1217426 w 2726754"/>
                <a:gd name="connsiteY4" fmla="*/ 613647 h 2369755"/>
                <a:gd name="connsiteX5" fmla="*/ 959160 w 2726754"/>
                <a:gd name="connsiteY5" fmla="*/ 571766 h 2369755"/>
                <a:gd name="connsiteX6" fmla="*/ 631093 w 2726754"/>
                <a:gd name="connsiteY6" fmla="*/ 606667 h 2369755"/>
                <a:gd name="connsiteX7" fmla="*/ 379808 w 2726754"/>
                <a:gd name="connsiteY7" fmla="*/ 690429 h 2369755"/>
                <a:gd name="connsiteX8" fmla="*/ 177383 w 2726754"/>
                <a:gd name="connsiteY8" fmla="*/ 843992 h 2369755"/>
                <a:gd name="connsiteX9" fmla="*/ 58721 w 2726754"/>
                <a:gd name="connsiteY9" fmla="*/ 1102258 h 2369755"/>
                <a:gd name="connsiteX10" fmla="*/ 2879 w 2726754"/>
                <a:gd name="connsiteY10" fmla="*/ 1416364 h 2369755"/>
                <a:gd name="connsiteX11" fmla="*/ 23820 w 2726754"/>
                <a:gd name="connsiteY11" fmla="*/ 1695571 h 2369755"/>
                <a:gd name="connsiteX12" fmla="*/ 156443 w 2726754"/>
                <a:gd name="connsiteY12" fmla="*/ 1995717 h 2369755"/>
                <a:gd name="connsiteX13" fmla="*/ 351887 w 2726754"/>
                <a:gd name="connsiteY13" fmla="*/ 2240022 h 2369755"/>
                <a:gd name="connsiteX14" fmla="*/ 784657 w 2726754"/>
                <a:gd name="connsiteY14" fmla="*/ 2365665 h 2369755"/>
                <a:gd name="connsiteX15" fmla="*/ 1503612 w 2726754"/>
                <a:gd name="connsiteY15" fmla="*/ 2330764 h 2369755"/>
                <a:gd name="connsiteX16" fmla="*/ 2180687 w 2726754"/>
                <a:gd name="connsiteY16" fmla="*/ 2247003 h 2369755"/>
                <a:gd name="connsiteX17" fmla="*/ 2578556 w 2726754"/>
                <a:gd name="connsiteY17" fmla="*/ 2044578 h 2369755"/>
                <a:gd name="connsiteX18" fmla="*/ 2725139 w 2726754"/>
                <a:gd name="connsiteY18" fmla="*/ 1639729 h 2369755"/>
                <a:gd name="connsiteX19" fmla="*/ 2641377 w 2726754"/>
                <a:gd name="connsiteY19" fmla="*/ 1165079 h 2369755"/>
                <a:gd name="connsiteX20" fmla="*/ 2411032 w 2726754"/>
                <a:gd name="connsiteY20" fmla="*/ 899833 h 2369755"/>
                <a:gd name="connsiteX21" fmla="*/ 2159747 w 2726754"/>
                <a:gd name="connsiteY21" fmla="*/ 774190 h 2369755"/>
                <a:gd name="connsiteX22" fmla="*/ 1950342 w 2726754"/>
                <a:gd name="connsiteY22" fmla="*/ 508945 h 2369755"/>
                <a:gd name="connsiteX23" fmla="*/ 1808194 w 2726754"/>
                <a:gd name="connsiteY23" fmla="*/ 3174 h 2369755"/>
                <a:gd name="connsiteX24" fmla="*/ 1742664 w 2726754"/>
                <a:gd name="connsiteY24" fmla="*/ 31422 h 2369755"/>
                <a:gd name="connsiteX0" fmla="*/ 1742664 w 2726754"/>
                <a:gd name="connsiteY0" fmla="*/ 21853 h 2360186"/>
                <a:gd name="connsiteX1" fmla="*/ 1761878 w 2726754"/>
                <a:gd name="connsiteY1" fmla="*/ 324872 h 2360186"/>
                <a:gd name="connsiteX2" fmla="*/ 1678116 w 2726754"/>
                <a:gd name="connsiteY2" fmla="*/ 527296 h 2360186"/>
                <a:gd name="connsiteX3" fmla="*/ 1531533 w 2726754"/>
                <a:gd name="connsiteY3" fmla="*/ 625018 h 2360186"/>
                <a:gd name="connsiteX4" fmla="*/ 1217426 w 2726754"/>
                <a:gd name="connsiteY4" fmla="*/ 604078 h 2360186"/>
                <a:gd name="connsiteX5" fmla="*/ 959160 w 2726754"/>
                <a:gd name="connsiteY5" fmla="*/ 562197 h 2360186"/>
                <a:gd name="connsiteX6" fmla="*/ 631093 w 2726754"/>
                <a:gd name="connsiteY6" fmla="*/ 597098 h 2360186"/>
                <a:gd name="connsiteX7" fmla="*/ 379808 w 2726754"/>
                <a:gd name="connsiteY7" fmla="*/ 680860 h 2360186"/>
                <a:gd name="connsiteX8" fmla="*/ 177383 w 2726754"/>
                <a:gd name="connsiteY8" fmla="*/ 834423 h 2360186"/>
                <a:gd name="connsiteX9" fmla="*/ 58721 w 2726754"/>
                <a:gd name="connsiteY9" fmla="*/ 1092689 h 2360186"/>
                <a:gd name="connsiteX10" fmla="*/ 2879 w 2726754"/>
                <a:gd name="connsiteY10" fmla="*/ 1406795 h 2360186"/>
                <a:gd name="connsiteX11" fmla="*/ 23820 w 2726754"/>
                <a:gd name="connsiteY11" fmla="*/ 1686002 h 2360186"/>
                <a:gd name="connsiteX12" fmla="*/ 156443 w 2726754"/>
                <a:gd name="connsiteY12" fmla="*/ 1986148 h 2360186"/>
                <a:gd name="connsiteX13" fmla="*/ 351887 w 2726754"/>
                <a:gd name="connsiteY13" fmla="*/ 2230453 h 2360186"/>
                <a:gd name="connsiteX14" fmla="*/ 784657 w 2726754"/>
                <a:gd name="connsiteY14" fmla="*/ 2356096 h 2360186"/>
                <a:gd name="connsiteX15" fmla="*/ 1503612 w 2726754"/>
                <a:gd name="connsiteY15" fmla="*/ 2321195 h 2360186"/>
                <a:gd name="connsiteX16" fmla="*/ 2180687 w 2726754"/>
                <a:gd name="connsiteY16" fmla="*/ 2237434 h 2360186"/>
                <a:gd name="connsiteX17" fmla="*/ 2578556 w 2726754"/>
                <a:gd name="connsiteY17" fmla="*/ 2035009 h 2360186"/>
                <a:gd name="connsiteX18" fmla="*/ 2725139 w 2726754"/>
                <a:gd name="connsiteY18" fmla="*/ 1630160 h 2360186"/>
                <a:gd name="connsiteX19" fmla="*/ 2641377 w 2726754"/>
                <a:gd name="connsiteY19" fmla="*/ 1155510 h 2360186"/>
                <a:gd name="connsiteX20" fmla="*/ 2411032 w 2726754"/>
                <a:gd name="connsiteY20" fmla="*/ 890264 h 2360186"/>
                <a:gd name="connsiteX21" fmla="*/ 2159747 w 2726754"/>
                <a:gd name="connsiteY21" fmla="*/ 764621 h 2360186"/>
                <a:gd name="connsiteX22" fmla="*/ 1950342 w 2726754"/>
                <a:gd name="connsiteY22" fmla="*/ 499376 h 2360186"/>
                <a:gd name="connsiteX23" fmla="*/ 1817719 w 2726754"/>
                <a:gd name="connsiteY23" fmla="*/ 17417 h 2360186"/>
                <a:gd name="connsiteX24" fmla="*/ 1742664 w 2726754"/>
                <a:gd name="connsiteY24" fmla="*/ 21853 h 2360186"/>
                <a:gd name="connsiteX0" fmla="*/ 1742664 w 2726754"/>
                <a:gd name="connsiteY0" fmla="*/ 23966 h 2362299"/>
                <a:gd name="connsiteX1" fmla="*/ 1761878 w 2726754"/>
                <a:gd name="connsiteY1" fmla="*/ 326985 h 2362299"/>
                <a:gd name="connsiteX2" fmla="*/ 1678116 w 2726754"/>
                <a:gd name="connsiteY2" fmla="*/ 529409 h 2362299"/>
                <a:gd name="connsiteX3" fmla="*/ 1531533 w 2726754"/>
                <a:gd name="connsiteY3" fmla="*/ 627131 h 2362299"/>
                <a:gd name="connsiteX4" fmla="*/ 1217426 w 2726754"/>
                <a:gd name="connsiteY4" fmla="*/ 606191 h 2362299"/>
                <a:gd name="connsiteX5" fmla="*/ 959160 w 2726754"/>
                <a:gd name="connsiteY5" fmla="*/ 564310 h 2362299"/>
                <a:gd name="connsiteX6" fmla="*/ 631093 w 2726754"/>
                <a:gd name="connsiteY6" fmla="*/ 599211 h 2362299"/>
                <a:gd name="connsiteX7" fmla="*/ 379808 w 2726754"/>
                <a:gd name="connsiteY7" fmla="*/ 682973 h 2362299"/>
                <a:gd name="connsiteX8" fmla="*/ 177383 w 2726754"/>
                <a:gd name="connsiteY8" fmla="*/ 836536 h 2362299"/>
                <a:gd name="connsiteX9" fmla="*/ 58721 w 2726754"/>
                <a:gd name="connsiteY9" fmla="*/ 1094802 h 2362299"/>
                <a:gd name="connsiteX10" fmla="*/ 2879 w 2726754"/>
                <a:gd name="connsiteY10" fmla="*/ 1408908 h 2362299"/>
                <a:gd name="connsiteX11" fmla="*/ 23820 w 2726754"/>
                <a:gd name="connsiteY11" fmla="*/ 1688115 h 2362299"/>
                <a:gd name="connsiteX12" fmla="*/ 156443 w 2726754"/>
                <a:gd name="connsiteY12" fmla="*/ 1988261 h 2362299"/>
                <a:gd name="connsiteX13" fmla="*/ 351887 w 2726754"/>
                <a:gd name="connsiteY13" fmla="*/ 2232566 h 2362299"/>
                <a:gd name="connsiteX14" fmla="*/ 784657 w 2726754"/>
                <a:gd name="connsiteY14" fmla="*/ 2358209 h 2362299"/>
                <a:gd name="connsiteX15" fmla="*/ 1503612 w 2726754"/>
                <a:gd name="connsiteY15" fmla="*/ 2323308 h 2362299"/>
                <a:gd name="connsiteX16" fmla="*/ 2180687 w 2726754"/>
                <a:gd name="connsiteY16" fmla="*/ 2239547 h 2362299"/>
                <a:gd name="connsiteX17" fmla="*/ 2578556 w 2726754"/>
                <a:gd name="connsiteY17" fmla="*/ 2037122 h 2362299"/>
                <a:gd name="connsiteX18" fmla="*/ 2725139 w 2726754"/>
                <a:gd name="connsiteY18" fmla="*/ 1632273 h 2362299"/>
                <a:gd name="connsiteX19" fmla="*/ 2641377 w 2726754"/>
                <a:gd name="connsiteY19" fmla="*/ 1157623 h 2362299"/>
                <a:gd name="connsiteX20" fmla="*/ 2411032 w 2726754"/>
                <a:gd name="connsiteY20" fmla="*/ 892377 h 2362299"/>
                <a:gd name="connsiteX21" fmla="*/ 2159747 w 2726754"/>
                <a:gd name="connsiteY21" fmla="*/ 766734 h 2362299"/>
                <a:gd name="connsiteX22" fmla="*/ 1950342 w 2726754"/>
                <a:gd name="connsiteY22" fmla="*/ 501489 h 2362299"/>
                <a:gd name="connsiteX23" fmla="*/ 1817719 w 2726754"/>
                <a:gd name="connsiteY23" fmla="*/ 19530 h 2362299"/>
                <a:gd name="connsiteX24" fmla="*/ 1742664 w 2726754"/>
                <a:gd name="connsiteY24" fmla="*/ 23966 h 2362299"/>
                <a:gd name="connsiteX0" fmla="*/ 1742664 w 2726754"/>
                <a:gd name="connsiteY0" fmla="*/ 25024 h 2363357"/>
                <a:gd name="connsiteX1" fmla="*/ 1761878 w 2726754"/>
                <a:gd name="connsiteY1" fmla="*/ 328043 h 2363357"/>
                <a:gd name="connsiteX2" fmla="*/ 1678116 w 2726754"/>
                <a:gd name="connsiteY2" fmla="*/ 530467 h 2363357"/>
                <a:gd name="connsiteX3" fmla="*/ 1531533 w 2726754"/>
                <a:gd name="connsiteY3" fmla="*/ 628189 h 2363357"/>
                <a:gd name="connsiteX4" fmla="*/ 1217426 w 2726754"/>
                <a:gd name="connsiteY4" fmla="*/ 607249 h 2363357"/>
                <a:gd name="connsiteX5" fmla="*/ 959160 w 2726754"/>
                <a:gd name="connsiteY5" fmla="*/ 565368 h 2363357"/>
                <a:gd name="connsiteX6" fmla="*/ 631093 w 2726754"/>
                <a:gd name="connsiteY6" fmla="*/ 600269 h 2363357"/>
                <a:gd name="connsiteX7" fmla="*/ 379808 w 2726754"/>
                <a:gd name="connsiteY7" fmla="*/ 684031 h 2363357"/>
                <a:gd name="connsiteX8" fmla="*/ 177383 w 2726754"/>
                <a:gd name="connsiteY8" fmla="*/ 837594 h 2363357"/>
                <a:gd name="connsiteX9" fmla="*/ 58721 w 2726754"/>
                <a:gd name="connsiteY9" fmla="*/ 1095860 h 2363357"/>
                <a:gd name="connsiteX10" fmla="*/ 2879 w 2726754"/>
                <a:gd name="connsiteY10" fmla="*/ 1409966 h 2363357"/>
                <a:gd name="connsiteX11" fmla="*/ 23820 w 2726754"/>
                <a:gd name="connsiteY11" fmla="*/ 1689173 h 2363357"/>
                <a:gd name="connsiteX12" fmla="*/ 156443 w 2726754"/>
                <a:gd name="connsiteY12" fmla="*/ 1989319 h 2363357"/>
                <a:gd name="connsiteX13" fmla="*/ 351887 w 2726754"/>
                <a:gd name="connsiteY13" fmla="*/ 2233624 h 2363357"/>
                <a:gd name="connsiteX14" fmla="*/ 784657 w 2726754"/>
                <a:gd name="connsiteY14" fmla="*/ 2359267 h 2363357"/>
                <a:gd name="connsiteX15" fmla="*/ 1503612 w 2726754"/>
                <a:gd name="connsiteY15" fmla="*/ 2324366 h 2363357"/>
                <a:gd name="connsiteX16" fmla="*/ 2180687 w 2726754"/>
                <a:gd name="connsiteY16" fmla="*/ 2240605 h 2363357"/>
                <a:gd name="connsiteX17" fmla="*/ 2578556 w 2726754"/>
                <a:gd name="connsiteY17" fmla="*/ 2038180 h 2363357"/>
                <a:gd name="connsiteX18" fmla="*/ 2725139 w 2726754"/>
                <a:gd name="connsiteY18" fmla="*/ 1633331 h 2363357"/>
                <a:gd name="connsiteX19" fmla="*/ 2641377 w 2726754"/>
                <a:gd name="connsiteY19" fmla="*/ 1158681 h 2363357"/>
                <a:gd name="connsiteX20" fmla="*/ 2411032 w 2726754"/>
                <a:gd name="connsiteY20" fmla="*/ 893435 h 2363357"/>
                <a:gd name="connsiteX21" fmla="*/ 2159747 w 2726754"/>
                <a:gd name="connsiteY21" fmla="*/ 767792 h 2363357"/>
                <a:gd name="connsiteX22" fmla="*/ 1950342 w 2726754"/>
                <a:gd name="connsiteY22" fmla="*/ 502547 h 2363357"/>
                <a:gd name="connsiteX23" fmla="*/ 1817719 w 2726754"/>
                <a:gd name="connsiteY23" fmla="*/ 20588 h 2363357"/>
                <a:gd name="connsiteX24" fmla="*/ 1742664 w 2726754"/>
                <a:gd name="connsiteY24" fmla="*/ 25024 h 2363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2726754" h="2363357">
                  <a:moveTo>
                    <a:pt x="1742664" y="25024"/>
                  </a:moveTo>
                  <a:cubicBezTo>
                    <a:pt x="1759550" y="83409"/>
                    <a:pt x="1772636" y="243803"/>
                    <a:pt x="1761878" y="328043"/>
                  </a:cubicBezTo>
                  <a:cubicBezTo>
                    <a:pt x="1751120" y="412283"/>
                    <a:pt x="1716507" y="480443"/>
                    <a:pt x="1678116" y="530467"/>
                  </a:cubicBezTo>
                  <a:cubicBezTo>
                    <a:pt x="1639725" y="580491"/>
                    <a:pt x="1608315" y="615392"/>
                    <a:pt x="1531533" y="628189"/>
                  </a:cubicBezTo>
                  <a:cubicBezTo>
                    <a:pt x="1454751" y="640986"/>
                    <a:pt x="1312822" y="617719"/>
                    <a:pt x="1217426" y="607249"/>
                  </a:cubicBezTo>
                  <a:cubicBezTo>
                    <a:pt x="1122030" y="596779"/>
                    <a:pt x="1056882" y="566531"/>
                    <a:pt x="959160" y="565368"/>
                  </a:cubicBezTo>
                  <a:cubicBezTo>
                    <a:pt x="861438" y="564205"/>
                    <a:pt x="727652" y="580492"/>
                    <a:pt x="631093" y="600269"/>
                  </a:cubicBezTo>
                  <a:cubicBezTo>
                    <a:pt x="534534" y="620046"/>
                    <a:pt x="455426" y="644477"/>
                    <a:pt x="379808" y="684031"/>
                  </a:cubicBezTo>
                  <a:cubicBezTo>
                    <a:pt x="304190" y="723585"/>
                    <a:pt x="230897" y="768956"/>
                    <a:pt x="177383" y="837594"/>
                  </a:cubicBezTo>
                  <a:cubicBezTo>
                    <a:pt x="123868" y="906232"/>
                    <a:pt x="87805" y="1000465"/>
                    <a:pt x="58721" y="1095860"/>
                  </a:cubicBezTo>
                  <a:cubicBezTo>
                    <a:pt x="29637" y="1191255"/>
                    <a:pt x="8696" y="1311081"/>
                    <a:pt x="2879" y="1409966"/>
                  </a:cubicBezTo>
                  <a:cubicBezTo>
                    <a:pt x="-2938" y="1508852"/>
                    <a:pt x="-1774" y="1592614"/>
                    <a:pt x="23820" y="1689173"/>
                  </a:cubicBezTo>
                  <a:cubicBezTo>
                    <a:pt x="49414" y="1785732"/>
                    <a:pt x="101765" y="1898577"/>
                    <a:pt x="156443" y="1989319"/>
                  </a:cubicBezTo>
                  <a:cubicBezTo>
                    <a:pt x="211121" y="2080061"/>
                    <a:pt x="247185" y="2171966"/>
                    <a:pt x="351887" y="2233624"/>
                  </a:cubicBezTo>
                  <a:cubicBezTo>
                    <a:pt x="456589" y="2295282"/>
                    <a:pt x="592703" y="2344143"/>
                    <a:pt x="784657" y="2359267"/>
                  </a:cubicBezTo>
                  <a:cubicBezTo>
                    <a:pt x="976611" y="2374391"/>
                    <a:pt x="1270940" y="2344143"/>
                    <a:pt x="1503612" y="2324366"/>
                  </a:cubicBezTo>
                  <a:cubicBezTo>
                    <a:pt x="1736284" y="2304589"/>
                    <a:pt x="2001530" y="2288303"/>
                    <a:pt x="2180687" y="2240605"/>
                  </a:cubicBezTo>
                  <a:cubicBezTo>
                    <a:pt x="2359844" y="2192907"/>
                    <a:pt x="2487814" y="2139392"/>
                    <a:pt x="2578556" y="2038180"/>
                  </a:cubicBezTo>
                  <a:cubicBezTo>
                    <a:pt x="2669298" y="1936968"/>
                    <a:pt x="2714669" y="1779914"/>
                    <a:pt x="2725139" y="1633331"/>
                  </a:cubicBezTo>
                  <a:cubicBezTo>
                    <a:pt x="2735609" y="1486748"/>
                    <a:pt x="2693728" y="1281997"/>
                    <a:pt x="2641377" y="1158681"/>
                  </a:cubicBezTo>
                  <a:cubicBezTo>
                    <a:pt x="2589026" y="1035365"/>
                    <a:pt x="2491304" y="958583"/>
                    <a:pt x="2411032" y="893435"/>
                  </a:cubicBezTo>
                  <a:cubicBezTo>
                    <a:pt x="2330760" y="828287"/>
                    <a:pt x="2236529" y="832940"/>
                    <a:pt x="2159747" y="767792"/>
                  </a:cubicBezTo>
                  <a:cubicBezTo>
                    <a:pt x="2082965" y="702644"/>
                    <a:pt x="2007347" y="624700"/>
                    <a:pt x="1950342" y="502547"/>
                  </a:cubicBezTo>
                  <a:cubicBezTo>
                    <a:pt x="1893337" y="380394"/>
                    <a:pt x="1852332" y="100175"/>
                    <a:pt x="1817719" y="20588"/>
                  </a:cubicBezTo>
                  <a:cubicBezTo>
                    <a:pt x="1795876" y="30004"/>
                    <a:pt x="1725778" y="-33361"/>
                    <a:pt x="1742664" y="25024"/>
                  </a:cubicBezTo>
                  <a:close/>
                </a:path>
              </a:pathLst>
            </a:custGeom>
            <a:solidFill>
              <a:schemeClr val="bg1"/>
            </a:solidFill>
            <a:ln w="0">
              <a:noFill/>
            </a:ln>
            <a:effectLst>
              <a:outerShdw blurRad="25400" dist="12700" dir="2700000" algn="tl" rotWithShape="0">
                <a:prstClr val="black">
                  <a:alpha val="8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7" name="Freeform 6"/>
            <p:cNvSpPr/>
            <p:nvPr userDrawn="1"/>
          </p:nvSpPr>
          <p:spPr>
            <a:xfrm>
              <a:off x="7910748" y="3218613"/>
              <a:ext cx="1193606" cy="876266"/>
            </a:xfrm>
            <a:custGeom>
              <a:avLst/>
              <a:gdLst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90742 w 1194967"/>
                <a:gd name="connsiteY8" fmla="*/ 644761 h 876266"/>
                <a:gd name="connsiteX9" fmla="*/ 0 w 1194967"/>
                <a:gd name="connsiteY9" fmla="*/ 602880 h 876266"/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90742 w 1194967"/>
                <a:gd name="connsiteY8" fmla="*/ 644761 h 876266"/>
                <a:gd name="connsiteX9" fmla="*/ 0 w 1194967"/>
                <a:gd name="connsiteY9" fmla="*/ 602880 h 876266"/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90742 w 1194967"/>
                <a:gd name="connsiteY8" fmla="*/ 644761 h 876266"/>
                <a:gd name="connsiteX9" fmla="*/ 0 w 1194967"/>
                <a:gd name="connsiteY9" fmla="*/ 602880 h 876266"/>
                <a:gd name="connsiteX0" fmla="*/ 0 w 1194967"/>
                <a:gd name="connsiteY0" fmla="*/ 602880 h 876266"/>
                <a:gd name="connsiteX1" fmla="*/ 90742 w 1194967"/>
                <a:gd name="connsiteY1" fmla="*/ 288773 h 876266"/>
                <a:gd name="connsiteX2" fmla="*/ 321087 w 1194967"/>
                <a:gd name="connsiteY2" fmla="*/ 51448 h 876266"/>
                <a:gd name="connsiteX3" fmla="*/ 746877 w 1194967"/>
                <a:gd name="connsiteY3" fmla="*/ 16548 h 876266"/>
                <a:gd name="connsiteX4" fmla="*/ 1193606 w 1194967"/>
                <a:gd name="connsiteY4" fmla="*/ 260853 h 876266"/>
                <a:gd name="connsiteX5" fmla="*/ 872519 w 1194967"/>
                <a:gd name="connsiteY5" fmla="*/ 721543 h 876266"/>
                <a:gd name="connsiteX6" fmla="*/ 495591 w 1194967"/>
                <a:gd name="connsiteY6" fmla="*/ 875106 h 876266"/>
                <a:gd name="connsiteX7" fmla="*/ 174504 w 1194967"/>
                <a:gd name="connsiteY7" fmla="*/ 784364 h 876266"/>
                <a:gd name="connsiteX8" fmla="*/ 76454 w 1194967"/>
                <a:gd name="connsiteY8" fmla="*/ 663811 h 876266"/>
                <a:gd name="connsiteX9" fmla="*/ 0 w 1194967"/>
                <a:gd name="connsiteY9" fmla="*/ 602880 h 876266"/>
                <a:gd name="connsiteX0" fmla="*/ 7711 w 1202678"/>
                <a:gd name="connsiteY0" fmla="*/ 602880 h 876266"/>
                <a:gd name="connsiteX1" fmla="*/ 12892 w 1202678"/>
                <a:gd name="connsiteY1" fmla="*/ 534915 h 876266"/>
                <a:gd name="connsiteX2" fmla="*/ 98453 w 1202678"/>
                <a:gd name="connsiteY2" fmla="*/ 288773 h 876266"/>
                <a:gd name="connsiteX3" fmla="*/ 328798 w 1202678"/>
                <a:gd name="connsiteY3" fmla="*/ 51448 h 876266"/>
                <a:gd name="connsiteX4" fmla="*/ 754588 w 1202678"/>
                <a:gd name="connsiteY4" fmla="*/ 16548 h 876266"/>
                <a:gd name="connsiteX5" fmla="*/ 1201317 w 1202678"/>
                <a:gd name="connsiteY5" fmla="*/ 260853 h 876266"/>
                <a:gd name="connsiteX6" fmla="*/ 880230 w 1202678"/>
                <a:gd name="connsiteY6" fmla="*/ 721543 h 876266"/>
                <a:gd name="connsiteX7" fmla="*/ 503302 w 1202678"/>
                <a:gd name="connsiteY7" fmla="*/ 875106 h 876266"/>
                <a:gd name="connsiteX8" fmla="*/ 182215 w 1202678"/>
                <a:gd name="connsiteY8" fmla="*/ 784364 h 876266"/>
                <a:gd name="connsiteX9" fmla="*/ 84165 w 1202678"/>
                <a:gd name="connsiteY9" fmla="*/ 663811 h 876266"/>
                <a:gd name="connsiteX10" fmla="*/ 7711 w 1202678"/>
                <a:gd name="connsiteY10" fmla="*/ 602880 h 876266"/>
                <a:gd name="connsiteX0" fmla="*/ 4101 w 1199068"/>
                <a:gd name="connsiteY0" fmla="*/ 602880 h 876266"/>
                <a:gd name="connsiteX1" fmla="*/ 23569 w 1199068"/>
                <a:gd name="connsiteY1" fmla="*/ 534915 h 876266"/>
                <a:gd name="connsiteX2" fmla="*/ 94843 w 1199068"/>
                <a:gd name="connsiteY2" fmla="*/ 288773 h 876266"/>
                <a:gd name="connsiteX3" fmla="*/ 325188 w 1199068"/>
                <a:gd name="connsiteY3" fmla="*/ 51448 h 876266"/>
                <a:gd name="connsiteX4" fmla="*/ 750978 w 1199068"/>
                <a:gd name="connsiteY4" fmla="*/ 16548 h 876266"/>
                <a:gd name="connsiteX5" fmla="*/ 1197707 w 1199068"/>
                <a:gd name="connsiteY5" fmla="*/ 260853 h 876266"/>
                <a:gd name="connsiteX6" fmla="*/ 876620 w 1199068"/>
                <a:gd name="connsiteY6" fmla="*/ 721543 h 876266"/>
                <a:gd name="connsiteX7" fmla="*/ 499692 w 1199068"/>
                <a:gd name="connsiteY7" fmla="*/ 875106 h 876266"/>
                <a:gd name="connsiteX8" fmla="*/ 178605 w 1199068"/>
                <a:gd name="connsiteY8" fmla="*/ 784364 h 876266"/>
                <a:gd name="connsiteX9" fmla="*/ 80555 w 1199068"/>
                <a:gd name="connsiteY9" fmla="*/ 663811 h 876266"/>
                <a:gd name="connsiteX10" fmla="*/ 4101 w 1199068"/>
                <a:gd name="connsiteY10" fmla="*/ 602880 h 876266"/>
                <a:gd name="connsiteX0" fmla="*/ 4101 w 1199068"/>
                <a:gd name="connsiteY0" fmla="*/ 602880 h 876266"/>
                <a:gd name="connsiteX1" fmla="*/ 23569 w 1199068"/>
                <a:gd name="connsiteY1" fmla="*/ 534915 h 876266"/>
                <a:gd name="connsiteX2" fmla="*/ 94843 w 1199068"/>
                <a:gd name="connsiteY2" fmla="*/ 288773 h 876266"/>
                <a:gd name="connsiteX3" fmla="*/ 325188 w 1199068"/>
                <a:gd name="connsiteY3" fmla="*/ 51448 h 876266"/>
                <a:gd name="connsiteX4" fmla="*/ 750978 w 1199068"/>
                <a:gd name="connsiteY4" fmla="*/ 16548 h 876266"/>
                <a:gd name="connsiteX5" fmla="*/ 1197707 w 1199068"/>
                <a:gd name="connsiteY5" fmla="*/ 260853 h 876266"/>
                <a:gd name="connsiteX6" fmla="*/ 876620 w 1199068"/>
                <a:gd name="connsiteY6" fmla="*/ 721543 h 876266"/>
                <a:gd name="connsiteX7" fmla="*/ 499692 w 1199068"/>
                <a:gd name="connsiteY7" fmla="*/ 875106 h 876266"/>
                <a:gd name="connsiteX8" fmla="*/ 178605 w 1199068"/>
                <a:gd name="connsiteY8" fmla="*/ 784364 h 876266"/>
                <a:gd name="connsiteX9" fmla="*/ 75792 w 1199068"/>
                <a:gd name="connsiteY9" fmla="*/ 647142 h 876266"/>
                <a:gd name="connsiteX10" fmla="*/ 4101 w 1199068"/>
                <a:gd name="connsiteY10" fmla="*/ 602880 h 876266"/>
                <a:gd name="connsiteX0" fmla="*/ 4101 w 1199068"/>
                <a:gd name="connsiteY0" fmla="*/ 602880 h 876266"/>
                <a:gd name="connsiteX1" fmla="*/ 23569 w 1199068"/>
                <a:gd name="connsiteY1" fmla="*/ 534915 h 876266"/>
                <a:gd name="connsiteX2" fmla="*/ 94843 w 1199068"/>
                <a:gd name="connsiteY2" fmla="*/ 288773 h 876266"/>
                <a:gd name="connsiteX3" fmla="*/ 325188 w 1199068"/>
                <a:gd name="connsiteY3" fmla="*/ 51448 h 876266"/>
                <a:gd name="connsiteX4" fmla="*/ 750978 w 1199068"/>
                <a:gd name="connsiteY4" fmla="*/ 16548 h 876266"/>
                <a:gd name="connsiteX5" fmla="*/ 1197707 w 1199068"/>
                <a:gd name="connsiteY5" fmla="*/ 260853 h 876266"/>
                <a:gd name="connsiteX6" fmla="*/ 876620 w 1199068"/>
                <a:gd name="connsiteY6" fmla="*/ 721543 h 876266"/>
                <a:gd name="connsiteX7" fmla="*/ 499692 w 1199068"/>
                <a:gd name="connsiteY7" fmla="*/ 875106 h 876266"/>
                <a:gd name="connsiteX8" fmla="*/ 178605 w 1199068"/>
                <a:gd name="connsiteY8" fmla="*/ 784364 h 876266"/>
                <a:gd name="connsiteX9" fmla="*/ 75792 w 1199068"/>
                <a:gd name="connsiteY9" fmla="*/ 647142 h 876266"/>
                <a:gd name="connsiteX10" fmla="*/ 4101 w 1199068"/>
                <a:gd name="connsiteY10" fmla="*/ 602880 h 876266"/>
                <a:gd name="connsiteX0" fmla="*/ 0 w 1194967"/>
                <a:gd name="connsiteY0" fmla="*/ 602880 h 876266"/>
                <a:gd name="connsiteX1" fmla="*/ 19468 w 1194967"/>
                <a:gd name="connsiteY1" fmla="*/ 534915 h 876266"/>
                <a:gd name="connsiteX2" fmla="*/ 90742 w 1194967"/>
                <a:gd name="connsiteY2" fmla="*/ 288773 h 876266"/>
                <a:gd name="connsiteX3" fmla="*/ 321087 w 1194967"/>
                <a:gd name="connsiteY3" fmla="*/ 51448 h 876266"/>
                <a:gd name="connsiteX4" fmla="*/ 746877 w 1194967"/>
                <a:gd name="connsiteY4" fmla="*/ 16548 h 876266"/>
                <a:gd name="connsiteX5" fmla="*/ 1193606 w 1194967"/>
                <a:gd name="connsiteY5" fmla="*/ 260853 h 876266"/>
                <a:gd name="connsiteX6" fmla="*/ 872519 w 1194967"/>
                <a:gd name="connsiteY6" fmla="*/ 721543 h 876266"/>
                <a:gd name="connsiteX7" fmla="*/ 495591 w 1194967"/>
                <a:gd name="connsiteY7" fmla="*/ 875106 h 876266"/>
                <a:gd name="connsiteX8" fmla="*/ 174504 w 1194967"/>
                <a:gd name="connsiteY8" fmla="*/ 784364 h 876266"/>
                <a:gd name="connsiteX9" fmla="*/ 71691 w 1194967"/>
                <a:gd name="connsiteY9" fmla="*/ 647142 h 876266"/>
                <a:gd name="connsiteX10" fmla="*/ 0 w 1194967"/>
                <a:gd name="connsiteY10" fmla="*/ 602880 h 876266"/>
                <a:gd name="connsiteX0" fmla="*/ 0 w 1194967"/>
                <a:gd name="connsiteY0" fmla="*/ 602880 h 876266"/>
                <a:gd name="connsiteX1" fmla="*/ 19468 w 1194967"/>
                <a:gd name="connsiteY1" fmla="*/ 534915 h 876266"/>
                <a:gd name="connsiteX2" fmla="*/ 90742 w 1194967"/>
                <a:gd name="connsiteY2" fmla="*/ 288773 h 876266"/>
                <a:gd name="connsiteX3" fmla="*/ 321087 w 1194967"/>
                <a:gd name="connsiteY3" fmla="*/ 51448 h 876266"/>
                <a:gd name="connsiteX4" fmla="*/ 746877 w 1194967"/>
                <a:gd name="connsiteY4" fmla="*/ 16548 h 876266"/>
                <a:gd name="connsiteX5" fmla="*/ 1193606 w 1194967"/>
                <a:gd name="connsiteY5" fmla="*/ 260853 h 876266"/>
                <a:gd name="connsiteX6" fmla="*/ 872519 w 1194967"/>
                <a:gd name="connsiteY6" fmla="*/ 721543 h 876266"/>
                <a:gd name="connsiteX7" fmla="*/ 495591 w 1194967"/>
                <a:gd name="connsiteY7" fmla="*/ 875106 h 876266"/>
                <a:gd name="connsiteX8" fmla="*/ 174504 w 1194967"/>
                <a:gd name="connsiteY8" fmla="*/ 784364 h 876266"/>
                <a:gd name="connsiteX9" fmla="*/ 71691 w 1194967"/>
                <a:gd name="connsiteY9" fmla="*/ 647142 h 876266"/>
                <a:gd name="connsiteX10" fmla="*/ 0 w 1194967"/>
                <a:gd name="connsiteY10" fmla="*/ 602880 h 876266"/>
                <a:gd name="connsiteX0" fmla="*/ 0 w 1194967"/>
                <a:gd name="connsiteY0" fmla="*/ 602880 h 876266"/>
                <a:gd name="connsiteX1" fmla="*/ 19468 w 1194967"/>
                <a:gd name="connsiteY1" fmla="*/ 534915 h 876266"/>
                <a:gd name="connsiteX2" fmla="*/ 90742 w 1194967"/>
                <a:gd name="connsiteY2" fmla="*/ 288773 h 876266"/>
                <a:gd name="connsiteX3" fmla="*/ 321087 w 1194967"/>
                <a:gd name="connsiteY3" fmla="*/ 51448 h 876266"/>
                <a:gd name="connsiteX4" fmla="*/ 746877 w 1194967"/>
                <a:gd name="connsiteY4" fmla="*/ 16548 h 876266"/>
                <a:gd name="connsiteX5" fmla="*/ 1193606 w 1194967"/>
                <a:gd name="connsiteY5" fmla="*/ 260853 h 876266"/>
                <a:gd name="connsiteX6" fmla="*/ 872519 w 1194967"/>
                <a:gd name="connsiteY6" fmla="*/ 721543 h 876266"/>
                <a:gd name="connsiteX7" fmla="*/ 495591 w 1194967"/>
                <a:gd name="connsiteY7" fmla="*/ 875106 h 876266"/>
                <a:gd name="connsiteX8" fmla="*/ 174504 w 1194967"/>
                <a:gd name="connsiteY8" fmla="*/ 784364 h 876266"/>
                <a:gd name="connsiteX9" fmla="*/ 71691 w 1194967"/>
                <a:gd name="connsiteY9" fmla="*/ 647142 h 876266"/>
                <a:gd name="connsiteX10" fmla="*/ 0 w 1194967"/>
                <a:gd name="connsiteY10" fmla="*/ 602880 h 876266"/>
                <a:gd name="connsiteX0" fmla="*/ 0 w 1193606"/>
                <a:gd name="connsiteY0" fmla="*/ 602880 h 876266"/>
                <a:gd name="connsiteX1" fmla="*/ 19468 w 1193606"/>
                <a:gd name="connsiteY1" fmla="*/ 534915 h 876266"/>
                <a:gd name="connsiteX2" fmla="*/ 90742 w 1193606"/>
                <a:gd name="connsiteY2" fmla="*/ 288773 h 876266"/>
                <a:gd name="connsiteX3" fmla="*/ 321087 w 1193606"/>
                <a:gd name="connsiteY3" fmla="*/ 51448 h 876266"/>
                <a:gd name="connsiteX4" fmla="*/ 746877 w 1193606"/>
                <a:gd name="connsiteY4" fmla="*/ 16548 h 876266"/>
                <a:gd name="connsiteX5" fmla="*/ 1193606 w 1193606"/>
                <a:gd name="connsiteY5" fmla="*/ 260853 h 876266"/>
                <a:gd name="connsiteX6" fmla="*/ 872519 w 1193606"/>
                <a:gd name="connsiteY6" fmla="*/ 721543 h 876266"/>
                <a:gd name="connsiteX7" fmla="*/ 495591 w 1193606"/>
                <a:gd name="connsiteY7" fmla="*/ 875106 h 876266"/>
                <a:gd name="connsiteX8" fmla="*/ 174504 w 1193606"/>
                <a:gd name="connsiteY8" fmla="*/ 784364 h 876266"/>
                <a:gd name="connsiteX9" fmla="*/ 71691 w 1193606"/>
                <a:gd name="connsiteY9" fmla="*/ 647142 h 876266"/>
                <a:gd name="connsiteX10" fmla="*/ 0 w 1193606"/>
                <a:gd name="connsiteY10" fmla="*/ 602880 h 8762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193606" h="876266">
                  <a:moveTo>
                    <a:pt x="0" y="602880"/>
                  </a:moveTo>
                  <a:cubicBezTo>
                    <a:pt x="4790" y="579015"/>
                    <a:pt x="4344" y="587266"/>
                    <a:pt x="19468" y="534915"/>
                  </a:cubicBezTo>
                  <a:cubicBezTo>
                    <a:pt x="34592" y="482564"/>
                    <a:pt x="40472" y="369351"/>
                    <a:pt x="90742" y="288773"/>
                  </a:cubicBezTo>
                  <a:cubicBezTo>
                    <a:pt x="141012" y="208195"/>
                    <a:pt x="211731" y="96819"/>
                    <a:pt x="321087" y="51448"/>
                  </a:cubicBezTo>
                  <a:cubicBezTo>
                    <a:pt x="430443" y="6077"/>
                    <a:pt x="601457" y="-18353"/>
                    <a:pt x="746877" y="16548"/>
                  </a:cubicBezTo>
                  <a:cubicBezTo>
                    <a:pt x="892297" y="51449"/>
                    <a:pt x="1146472" y="186216"/>
                    <a:pt x="1193606" y="260853"/>
                  </a:cubicBezTo>
                  <a:cubicBezTo>
                    <a:pt x="1171684" y="356921"/>
                    <a:pt x="988855" y="619168"/>
                    <a:pt x="872519" y="721543"/>
                  </a:cubicBezTo>
                  <a:cubicBezTo>
                    <a:pt x="756183" y="823918"/>
                    <a:pt x="611927" y="864636"/>
                    <a:pt x="495591" y="875106"/>
                  </a:cubicBezTo>
                  <a:cubicBezTo>
                    <a:pt x="379255" y="885576"/>
                    <a:pt x="241979" y="822755"/>
                    <a:pt x="174504" y="784364"/>
                  </a:cubicBezTo>
                  <a:cubicBezTo>
                    <a:pt x="107029" y="745973"/>
                    <a:pt x="99612" y="678553"/>
                    <a:pt x="71691" y="647142"/>
                  </a:cubicBezTo>
                  <a:cubicBezTo>
                    <a:pt x="43770" y="615731"/>
                    <a:pt x="35719" y="633636"/>
                    <a:pt x="0" y="602880"/>
                  </a:cubicBezTo>
                  <a:close/>
                </a:path>
              </a:pathLst>
            </a:custGeom>
            <a:solidFill>
              <a:srgbClr val="E5162E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8" name="Freeform 7"/>
            <p:cNvSpPr/>
            <p:nvPr userDrawn="1"/>
          </p:nvSpPr>
          <p:spPr>
            <a:xfrm>
              <a:off x="7309669" y="2979859"/>
              <a:ext cx="673664" cy="683697"/>
            </a:xfrm>
            <a:custGeom>
              <a:avLst/>
              <a:gdLst>
                <a:gd name="connsiteX0" fmla="*/ 353847 w 673664"/>
                <a:gd name="connsiteY0" fmla="*/ 9288 h 683697"/>
                <a:gd name="connsiteX1" fmla="*/ 410997 w 673664"/>
                <a:gd name="connsiteY1" fmla="*/ 59294 h 683697"/>
                <a:gd name="connsiteX2" fmla="*/ 415760 w 673664"/>
                <a:gd name="connsiteY2" fmla="*/ 183119 h 683697"/>
                <a:gd name="connsiteX3" fmla="*/ 451479 w 673664"/>
                <a:gd name="connsiteY3" fmla="*/ 195025 h 683697"/>
                <a:gd name="connsiteX4" fmla="*/ 503866 w 673664"/>
                <a:gd name="connsiteY4" fmla="*/ 154544 h 683697"/>
                <a:gd name="connsiteX5" fmla="*/ 582447 w 673664"/>
                <a:gd name="connsiteY5" fmla="*/ 156925 h 683697"/>
                <a:gd name="connsiteX6" fmla="*/ 651504 w 673664"/>
                <a:gd name="connsiteY6" fmla="*/ 230744 h 683697"/>
                <a:gd name="connsiteX7" fmla="*/ 672935 w 673664"/>
                <a:gd name="connsiteY7" fmla="*/ 378381 h 683697"/>
                <a:gd name="connsiteX8" fmla="*/ 630072 w 673664"/>
                <a:gd name="connsiteY8" fmla="*/ 523638 h 683697"/>
                <a:gd name="connsiteX9" fmla="*/ 572922 w 673664"/>
                <a:gd name="connsiteY9" fmla="*/ 573644 h 683697"/>
                <a:gd name="connsiteX10" fmla="*/ 491960 w 673664"/>
                <a:gd name="connsiteY10" fmla="*/ 566500 h 683697"/>
                <a:gd name="connsiteX11" fmla="*/ 449097 w 673664"/>
                <a:gd name="connsiteY11" fmla="*/ 497444 h 683697"/>
                <a:gd name="connsiteX12" fmla="*/ 403854 w 673664"/>
                <a:gd name="connsiteY12" fmla="*/ 487919 h 683697"/>
                <a:gd name="connsiteX13" fmla="*/ 389566 w 673664"/>
                <a:gd name="connsiteY13" fmla="*/ 516494 h 683697"/>
                <a:gd name="connsiteX14" fmla="*/ 401472 w 673664"/>
                <a:gd name="connsiteY14" fmla="*/ 592694 h 683697"/>
                <a:gd name="connsiteX15" fmla="*/ 351466 w 673664"/>
                <a:gd name="connsiteY15" fmla="*/ 659369 h 683697"/>
                <a:gd name="connsiteX16" fmla="*/ 282410 w 673664"/>
                <a:gd name="connsiteY16" fmla="*/ 683181 h 683697"/>
                <a:gd name="connsiteX17" fmla="*/ 139535 w 673664"/>
                <a:gd name="connsiteY17" fmla="*/ 640319 h 683697"/>
                <a:gd name="connsiteX18" fmla="*/ 10947 w 673664"/>
                <a:gd name="connsiteY18" fmla="*/ 521256 h 683697"/>
                <a:gd name="connsiteX19" fmla="*/ 20472 w 673664"/>
                <a:gd name="connsiteY19" fmla="*/ 397431 h 683697"/>
                <a:gd name="connsiteX20" fmla="*/ 130010 w 673664"/>
                <a:gd name="connsiteY20" fmla="*/ 364094 h 683697"/>
                <a:gd name="connsiteX21" fmla="*/ 158585 w 673664"/>
                <a:gd name="connsiteY21" fmla="*/ 340281 h 683697"/>
                <a:gd name="connsiteX22" fmla="*/ 139535 w 673664"/>
                <a:gd name="connsiteY22" fmla="*/ 306944 h 683697"/>
                <a:gd name="connsiteX23" fmla="*/ 46666 w 673664"/>
                <a:gd name="connsiteY23" fmla="*/ 278369 h 683697"/>
                <a:gd name="connsiteX24" fmla="*/ 18091 w 673664"/>
                <a:gd name="connsiteY24" fmla="*/ 199788 h 683697"/>
                <a:gd name="connsiteX25" fmla="*/ 75241 w 673664"/>
                <a:gd name="connsiteY25" fmla="*/ 92631 h 683697"/>
                <a:gd name="connsiteX26" fmla="*/ 191922 w 673664"/>
                <a:gd name="connsiteY26" fmla="*/ 9288 h 683697"/>
                <a:gd name="connsiteX27" fmla="*/ 353847 w 673664"/>
                <a:gd name="connsiteY27" fmla="*/ 9288 h 6836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673664" h="683697">
                  <a:moveTo>
                    <a:pt x="353847" y="9288"/>
                  </a:moveTo>
                  <a:cubicBezTo>
                    <a:pt x="390359" y="17622"/>
                    <a:pt x="400678" y="30322"/>
                    <a:pt x="410997" y="59294"/>
                  </a:cubicBezTo>
                  <a:cubicBezTo>
                    <a:pt x="421316" y="88266"/>
                    <a:pt x="409013" y="160497"/>
                    <a:pt x="415760" y="183119"/>
                  </a:cubicBezTo>
                  <a:cubicBezTo>
                    <a:pt x="422507" y="205741"/>
                    <a:pt x="436795" y="199788"/>
                    <a:pt x="451479" y="195025"/>
                  </a:cubicBezTo>
                  <a:cubicBezTo>
                    <a:pt x="466163" y="190262"/>
                    <a:pt x="482038" y="160894"/>
                    <a:pt x="503866" y="154544"/>
                  </a:cubicBezTo>
                  <a:cubicBezTo>
                    <a:pt x="525694" y="148194"/>
                    <a:pt x="557841" y="144225"/>
                    <a:pt x="582447" y="156925"/>
                  </a:cubicBezTo>
                  <a:cubicBezTo>
                    <a:pt x="607053" y="169625"/>
                    <a:pt x="636423" y="193835"/>
                    <a:pt x="651504" y="230744"/>
                  </a:cubicBezTo>
                  <a:cubicBezTo>
                    <a:pt x="666585" y="267653"/>
                    <a:pt x="676507" y="329565"/>
                    <a:pt x="672935" y="378381"/>
                  </a:cubicBezTo>
                  <a:cubicBezTo>
                    <a:pt x="669363" y="427197"/>
                    <a:pt x="646741" y="491094"/>
                    <a:pt x="630072" y="523638"/>
                  </a:cubicBezTo>
                  <a:cubicBezTo>
                    <a:pt x="613403" y="556182"/>
                    <a:pt x="595941" y="566500"/>
                    <a:pt x="572922" y="573644"/>
                  </a:cubicBezTo>
                  <a:cubicBezTo>
                    <a:pt x="549903" y="580788"/>
                    <a:pt x="512597" y="579200"/>
                    <a:pt x="491960" y="566500"/>
                  </a:cubicBezTo>
                  <a:cubicBezTo>
                    <a:pt x="471323" y="553800"/>
                    <a:pt x="463781" y="510541"/>
                    <a:pt x="449097" y="497444"/>
                  </a:cubicBezTo>
                  <a:cubicBezTo>
                    <a:pt x="434413" y="484347"/>
                    <a:pt x="413776" y="484744"/>
                    <a:pt x="403854" y="487919"/>
                  </a:cubicBezTo>
                  <a:cubicBezTo>
                    <a:pt x="393932" y="491094"/>
                    <a:pt x="389963" y="499032"/>
                    <a:pt x="389566" y="516494"/>
                  </a:cubicBezTo>
                  <a:cubicBezTo>
                    <a:pt x="389169" y="533956"/>
                    <a:pt x="407822" y="568882"/>
                    <a:pt x="401472" y="592694"/>
                  </a:cubicBezTo>
                  <a:cubicBezTo>
                    <a:pt x="395122" y="616506"/>
                    <a:pt x="371310" y="644288"/>
                    <a:pt x="351466" y="659369"/>
                  </a:cubicBezTo>
                  <a:cubicBezTo>
                    <a:pt x="331622" y="674450"/>
                    <a:pt x="317732" y="686356"/>
                    <a:pt x="282410" y="683181"/>
                  </a:cubicBezTo>
                  <a:cubicBezTo>
                    <a:pt x="247088" y="680006"/>
                    <a:pt x="184779" y="667306"/>
                    <a:pt x="139535" y="640319"/>
                  </a:cubicBezTo>
                  <a:cubicBezTo>
                    <a:pt x="94291" y="613332"/>
                    <a:pt x="30791" y="561737"/>
                    <a:pt x="10947" y="521256"/>
                  </a:cubicBezTo>
                  <a:cubicBezTo>
                    <a:pt x="-8897" y="480775"/>
                    <a:pt x="628" y="423625"/>
                    <a:pt x="20472" y="397431"/>
                  </a:cubicBezTo>
                  <a:cubicBezTo>
                    <a:pt x="40316" y="371237"/>
                    <a:pt x="106991" y="373619"/>
                    <a:pt x="130010" y="364094"/>
                  </a:cubicBezTo>
                  <a:cubicBezTo>
                    <a:pt x="153029" y="354569"/>
                    <a:pt x="156997" y="349806"/>
                    <a:pt x="158585" y="340281"/>
                  </a:cubicBezTo>
                  <a:cubicBezTo>
                    <a:pt x="160172" y="330756"/>
                    <a:pt x="158188" y="317263"/>
                    <a:pt x="139535" y="306944"/>
                  </a:cubicBezTo>
                  <a:cubicBezTo>
                    <a:pt x="120882" y="296625"/>
                    <a:pt x="66907" y="296228"/>
                    <a:pt x="46666" y="278369"/>
                  </a:cubicBezTo>
                  <a:cubicBezTo>
                    <a:pt x="26425" y="260510"/>
                    <a:pt x="13328" y="230744"/>
                    <a:pt x="18091" y="199788"/>
                  </a:cubicBezTo>
                  <a:cubicBezTo>
                    <a:pt x="22854" y="168832"/>
                    <a:pt x="46269" y="124381"/>
                    <a:pt x="75241" y="92631"/>
                  </a:cubicBezTo>
                  <a:cubicBezTo>
                    <a:pt x="104213" y="60881"/>
                    <a:pt x="151441" y="25163"/>
                    <a:pt x="191922" y="9288"/>
                  </a:cubicBezTo>
                  <a:cubicBezTo>
                    <a:pt x="232403" y="-6587"/>
                    <a:pt x="317335" y="954"/>
                    <a:pt x="353847" y="9288"/>
                  </a:cubicBezTo>
                  <a:close/>
                </a:path>
              </a:pathLst>
            </a:custGeom>
            <a:solidFill>
              <a:srgbClr val="F8B300"/>
            </a:solidFill>
            <a:ln w="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sp>
          <p:nvSpPr>
            <p:cNvPr id="6" name="Oval 5"/>
            <p:cNvSpPr/>
            <p:nvPr userDrawn="1"/>
          </p:nvSpPr>
          <p:spPr>
            <a:xfrm>
              <a:off x="7525676" y="3224109"/>
              <a:ext cx="210568" cy="210568"/>
            </a:xfrm>
            <a:prstGeom prst="ellipse">
              <a:avLst/>
            </a:prstGeom>
            <a:solidFill>
              <a:srgbClr val="FDEB0E"/>
            </a:solidFill>
            <a:ln w="0">
              <a:noFill/>
            </a:ln>
            <a:effectLst>
              <a:outerShdw blurRad="25400" dist="12700" dir="2700009" rotWithShape="0">
                <a:srgbClr val="000000">
                  <a:alpha val="80000"/>
                </a:srgb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2582"/>
              <a:endParaRPr lang="en-US" sz="2000" dirty="0">
                <a:solidFill>
                  <a:prstClr val="black"/>
                </a:solidFill>
              </a:endParaRPr>
            </a:p>
          </p:txBody>
        </p:sp>
        <p:pic>
          <p:nvPicPr>
            <p:cNvPr id="1027" name="Picture 3"/>
            <p:cNvPicPr>
              <a:picLocks noChangeAspect="1" noChangeArrowheads="1"/>
            </p:cNvPicPr>
            <p:nvPr userDrawn="1"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23339" y="4041508"/>
              <a:ext cx="2420143" cy="16698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2" name="Freeform 41"/>
          <p:cNvSpPr/>
          <p:nvPr/>
        </p:nvSpPr>
        <p:spPr>
          <a:xfrm>
            <a:off x="500980" y="114997"/>
            <a:ext cx="7939655" cy="408105"/>
          </a:xfrm>
          <a:custGeom>
            <a:avLst/>
            <a:gdLst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1765979 w 7943414"/>
              <a:gd name="connsiteY21" fmla="*/ 336444 h 354663"/>
              <a:gd name="connsiteX22" fmla="*/ 2094046 w 7943414"/>
              <a:gd name="connsiteY22" fmla="*/ 266642 h 354663"/>
              <a:gd name="connsiteX23" fmla="*/ 2205729 w 7943414"/>
              <a:gd name="connsiteY23" fmla="*/ 154960 h 354663"/>
              <a:gd name="connsiteX24" fmla="*/ 1947463 w 7943414"/>
              <a:gd name="connsiteY24" fmla="*/ 22337 h 354663"/>
              <a:gd name="connsiteX25" fmla="*/ 1340190 w 7943414"/>
              <a:gd name="connsiteY25" fmla="*/ 99119 h 354663"/>
              <a:gd name="connsiteX26" fmla="*/ 858559 w 7943414"/>
              <a:gd name="connsiteY26" fmla="*/ 203821 h 354663"/>
              <a:gd name="connsiteX27" fmla="*/ 495591 w 7943414"/>
              <a:gd name="connsiteY27" fmla="*/ 252682 h 354663"/>
              <a:gd name="connsiteX28" fmla="*/ 188464 w 7943414"/>
              <a:gd name="connsiteY28" fmla="*/ 196841 h 354663"/>
              <a:gd name="connsiteX29" fmla="*/ 0 w 7943414"/>
              <a:gd name="connsiteY29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1765979 w 7943414"/>
              <a:gd name="connsiteY21" fmla="*/ 336444 h 354663"/>
              <a:gd name="connsiteX22" fmla="*/ 2094046 w 7943414"/>
              <a:gd name="connsiteY22" fmla="*/ 266642 h 354663"/>
              <a:gd name="connsiteX23" fmla="*/ 1947463 w 7943414"/>
              <a:gd name="connsiteY23" fmla="*/ 22337 h 354663"/>
              <a:gd name="connsiteX24" fmla="*/ 1340190 w 7943414"/>
              <a:gd name="connsiteY24" fmla="*/ 99119 h 354663"/>
              <a:gd name="connsiteX25" fmla="*/ 858559 w 7943414"/>
              <a:gd name="connsiteY25" fmla="*/ 203821 h 354663"/>
              <a:gd name="connsiteX26" fmla="*/ 495591 w 7943414"/>
              <a:gd name="connsiteY26" fmla="*/ 252682 h 354663"/>
              <a:gd name="connsiteX27" fmla="*/ 188464 w 7943414"/>
              <a:gd name="connsiteY27" fmla="*/ 196841 h 354663"/>
              <a:gd name="connsiteX28" fmla="*/ 0 w 7943414"/>
              <a:gd name="connsiteY28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1765979 w 7943414"/>
              <a:gd name="connsiteY21" fmla="*/ 336444 h 354663"/>
              <a:gd name="connsiteX22" fmla="*/ 2094046 w 7943414"/>
              <a:gd name="connsiteY22" fmla="*/ 266642 h 354663"/>
              <a:gd name="connsiteX23" fmla="*/ 1947463 w 7943414"/>
              <a:gd name="connsiteY23" fmla="*/ 22337 h 354663"/>
              <a:gd name="connsiteX24" fmla="*/ 1340190 w 7943414"/>
              <a:gd name="connsiteY24" fmla="*/ 99119 h 354663"/>
              <a:gd name="connsiteX25" fmla="*/ 858559 w 7943414"/>
              <a:gd name="connsiteY25" fmla="*/ 203821 h 354663"/>
              <a:gd name="connsiteX26" fmla="*/ 495591 w 7943414"/>
              <a:gd name="connsiteY26" fmla="*/ 252682 h 354663"/>
              <a:gd name="connsiteX27" fmla="*/ 188464 w 7943414"/>
              <a:gd name="connsiteY27" fmla="*/ 196841 h 354663"/>
              <a:gd name="connsiteX28" fmla="*/ 0 w 7943414"/>
              <a:gd name="connsiteY28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2094046 w 7943414"/>
              <a:gd name="connsiteY21" fmla="*/ 266642 h 354663"/>
              <a:gd name="connsiteX22" fmla="*/ 1947463 w 7943414"/>
              <a:gd name="connsiteY22" fmla="*/ 22337 h 354663"/>
              <a:gd name="connsiteX23" fmla="*/ 1340190 w 7943414"/>
              <a:gd name="connsiteY23" fmla="*/ 99119 h 354663"/>
              <a:gd name="connsiteX24" fmla="*/ 858559 w 7943414"/>
              <a:gd name="connsiteY24" fmla="*/ 203821 h 354663"/>
              <a:gd name="connsiteX25" fmla="*/ 495591 w 7943414"/>
              <a:gd name="connsiteY25" fmla="*/ 252682 h 354663"/>
              <a:gd name="connsiteX26" fmla="*/ 188464 w 7943414"/>
              <a:gd name="connsiteY26" fmla="*/ 196841 h 354663"/>
              <a:gd name="connsiteX27" fmla="*/ 0 w 7943414"/>
              <a:gd name="connsiteY27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710138 w 7943414"/>
              <a:gd name="connsiteY19" fmla="*/ 134019 h 354663"/>
              <a:gd name="connsiteX20" fmla="*/ 1598455 w 7943414"/>
              <a:gd name="connsiteY20" fmla="*/ 245702 h 354663"/>
              <a:gd name="connsiteX21" fmla="*/ 2094046 w 7943414"/>
              <a:gd name="connsiteY21" fmla="*/ 266642 h 354663"/>
              <a:gd name="connsiteX22" fmla="*/ 1947463 w 7943414"/>
              <a:gd name="connsiteY22" fmla="*/ 22337 h 354663"/>
              <a:gd name="connsiteX23" fmla="*/ 1340190 w 7943414"/>
              <a:gd name="connsiteY23" fmla="*/ 99119 h 354663"/>
              <a:gd name="connsiteX24" fmla="*/ 858559 w 7943414"/>
              <a:gd name="connsiteY24" fmla="*/ 203821 h 354663"/>
              <a:gd name="connsiteX25" fmla="*/ 495591 w 7943414"/>
              <a:gd name="connsiteY25" fmla="*/ 252682 h 354663"/>
              <a:gd name="connsiteX26" fmla="*/ 188464 w 7943414"/>
              <a:gd name="connsiteY26" fmla="*/ 196841 h 354663"/>
              <a:gd name="connsiteX27" fmla="*/ 0 w 7943414"/>
              <a:gd name="connsiteY27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598455 w 7943414"/>
              <a:gd name="connsiteY19" fmla="*/ 245702 h 354663"/>
              <a:gd name="connsiteX20" fmla="*/ 2094046 w 7943414"/>
              <a:gd name="connsiteY20" fmla="*/ 266642 h 354663"/>
              <a:gd name="connsiteX21" fmla="*/ 1947463 w 7943414"/>
              <a:gd name="connsiteY21" fmla="*/ 22337 h 354663"/>
              <a:gd name="connsiteX22" fmla="*/ 1340190 w 7943414"/>
              <a:gd name="connsiteY22" fmla="*/ 99119 h 354663"/>
              <a:gd name="connsiteX23" fmla="*/ 858559 w 7943414"/>
              <a:gd name="connsiteY23" fmla="*/ 203821 h 354663"/>
              <a:gd name="connsiteX24" fmla="*/ 495591 w 7943414"/>
              <a:gd name="connsiteY24" fmla="*/ 252682 h 354663"/>
              <a:gd name="connsiteX25" fmla="*/ 188464 w 7943414"/>
              <a:gd name="connsiteY25" fmla="*/ 196841 h 354663"/>
              <a:gd name="connsiteX26" fmla="*/ 0 w 7943414"/>
              <a:gd name="connsiteY26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598455 w 7943414"/>
              <a:gd name="connsiteY19" fmla="*/ 245702 h 354663"/>
              <a:gd name="connsiteX20" fmla="*/ 2094046 w 7943414"/>
              <a:gd name="connsiteY20" fmla="*/ 266642 h 354663"/>
              <a:gd name="connsiteX21" fmla="*/ 1947463 w 7943414"/>
              <a:gd name="connsiteY21" fmla="*/ 22337 h 354663"/>
              <a:gd name="connsiteX22" fmla="*/ 1340190 w 7943414"/>
              <a:gd name="connsiteY22" fmla="*/ 99119 h 354663"/>
              <a:gd name="connsiteX23" fmla="*/ 858559 w 7943414"/>
              <a:gd name="connsiteY23" fmla="*/ 203821 h 354663"/>
              <a:gd name="connsiteX24" fmla="*/ 495591 w 7943414"/>
              <a:gd name="connsiteY24" fmla="*/ 252682 h 354663"/>
              <a:gd name="connsiteX25" fmla="*/ 188464 w 7943414"/>
              <a:gd name="connsiteY25" fmla="*/ 196841 h 354663"/>
              <a:gd name="connsiteX26" fmla="*/ 0 w 7943414"/>
              <a:gd name="connsiteY26" fmla="*/ 92138 h 354663"/>
              <a:gd name="connsiteX0" fmla="*/ 7943414 w 7943414"/>
              <a:gd name="connsiteY0" fmla="*/ 85158 h 354663"/>
              <a:gd name="connsiteX1" fmla="*/ 7692129 w 7943414"/>
              <a:gd name="connsiteY1" fmla="*/ 127039 h 354663"/>
              <a:gd name="connsiteX2" fmla="*/ 7622327 w 7943414"/>
              <a:gd name="connsiteY2" fmla="*/ 210801 h 354663"/>
              <a:gd name="connsiteX3" fmla="*/ 7782871 w 7943414"/>
              <a:gd name="connsiteY3" fmla="*/ 224761 h 354663"/>
              <a:gd name="connsiteX4" fmla="*/ 7817771 w 7943414"/>
              <a:gd name="connsiteY4" fmla="*/ 182880 h 354663"/>
              <a:gd name="connsiteX5" fmla="*/ 7622327 w 7943414"/>
              <a:gd name="connsiteY5" fmla="*/ 106099 h 354663"/>
              <a:gd name="connsiteX6" fmla="*/ 6973173 w 7943414"/>
              <a:gd name="connsiteY6" fmla="*/ 161940 h 354663"/>
              <a:gd name="connsiteX7" fmla="*/ 6770748 w 7943414"/>
              <a:gd name="connsiteY7" fmla="*/ 245702 h 354663"/>
              <a:gd name="connsiteX8" fmla="*/ 6735848 w 7943414"/>
              <a:gd name="connsiteY8" fmla="*/ 287583 h 354663"/>
              <a:gd name="connsiteX9" fmla="*/ 6805649 w 7943414"/>
              <a:gd name="connsiteY9" fmla="*/ 343424 h 354663"/>
              <a:gd name="connsiteX10" fmla="*/ 6889411 w 7943414"/>
              <a:gd name="connsiteY10" fmla="*/ 343424 h 354663"/>
              <a:gd name="connsiteX11" fmla="*/ 6728867 w 7943414"/>
              <a:gd name="connsiteY11" fmla="*/ 224761 h 354663"/>
              <a:gd name="connsiteX12" fmla="*/ 6358919 w 7943414"/>
              <a:gd name="connsiteY12" fmla="*/ 113079 h 354663"/>
              <a:gd name="connsiteX13" fmla="*/ 5395658 w 7943414"/>
              <a:gd name="connsiteY13" fmla="*/ 22337 h 354663"/>
              <a:gd name="connsiteX14" fmla="*/ 4104330 w 7943414"/>
              <a:gd name="connsiteY14" fmla="*/ 1396 h 354663"/>
              <a:gd name="connsiteX15" fmla="*/ 3106168 w 7943414"/>
              <a:gd name="connsiteY15" fmla="*/ 50258 h 354663"/>
              <a:gd name="connsiteX16" fmla="*/ 2673399 w 7943414"/>
              <a:gd name="connsiteY16" fmla="*/ 113079 h 354663"/>
              <a:gd name="connsiteX17" fmla="*/ 2359292 w 7943414"/>
              <a:gd name="connsiteY17" fmla="*/ 113079 h 354663"/>
              <a:gd name="connsiteX18" fmla="*/ 1933503 w 7943414"/>
              <a:gd name="connsiteY18" fmla="*/ 92138 h 354663"/>
              <a:gd name="connsiteX19" fmla="*/ 1598455 w 7943414"/>
              <a:gd name="connsiteY19" fmla="*/ 245702 h 354663"/>
              <a:gd name="connsiteX20" fmla="*/ 2094046 w 7943414"/>
              <a:gd name="connsiteY20" fmla="*/ 266642 h 354663"/>
              <a:gd name="connsiteX21" fmla="*/ 1947463 w 7943414"/>
              <a:gd name="connsiteY21" fmla="*/ 22337 h 354663"/>
              <a:gd name="connsiteX22" fmla="*/ 1340190 w 7943414"/>
              <a:gd name="connsiteY22" fmla="*/ 99119 h 354663"/>
              <a:gd name="connsiteX23" fmla="*/ 858559 w 7943414"/>
              <a:gd name="connsiteY23" fmla="*/ 203821 h 354663"/>
              <a:gd name="connsiteX24" fmla="*/ 495591 w 7943414"/>
              <a:gd name="connsiteY24" fmla="*/ 252682 h 354663"/>
              <a:gd name="connsiteX25" fmla="*/ 188464 w 7943414"/>
              <a:gd name="connsiteY25" fmla="*/ 196841 h 354663"/>
              <a:gd name="connsiteX26" fmla="*/ 0 w 7943414"/>
              <a:gd name="connsiteY26" fmla="*/ 92138 h 354663"/>
              <a:gd name="connsiteX0" fmla="*/ 7943414 w 7943414"/>
              <a:gd name="connsiteY0" fmla="*/ 89507 h 359012"/>
              <a:gd name="connsiteX1" fmla="*/ 7692129 w 7943414"/>
              <a:gd name="connsiteY1" fmla="*/ 131388 h 359012"/>
              <a:gd name="connsiteX2" fmla="*/ 7622327 w 7943414"/>
              <a:gd name="connsiteY2" fmla="*/ 215150 h 359012"/>
              <a:gd name="connsiteX3" fmla="*/ 7782871 w 7943414"/>
              <a:gd name="connsiteY3" fmla="*/ 229110 h 359012"/>
              <a:gd name="connsiteX4" fmla="*/ 7817771 w 7943414"/>
              <a:gd name="connsiteY4" fmla="*/ 187229 h 359012"/>
              <a:gd name="connsiteX5" fmla="*/ 7622327 w 7943414"/>
              <a:gd name="connsiteY5" fmla="*/ 110448 h 359012"/>
              <a:gd name="connsiteX6" fmla="*/ 6973173 w 7943414"/>
              <a:gd name="connsiteY6" fmla="*/ 166289 h 359012"/>
              <a:gd name="connsiteX7" fmla="*/ 6770748 w 7943414"/>
              <a:gd name="connsiteY7" fmla="*/ 250051 h 359012"/>
              <a:gd name="connsiteX8" fmla="*/ 6735848 w 7943414"/>
              <a:gd name="connsiteY8" fmla="*/ 291932 h 359012"/>
              <a:gd name="connsiteX9" fmla="*/ 6805649 w 7943414"/>
              <a:gd name="connsiteY9" fmla="*/ 347773 h 359012"/>
              <a:gd name="connsiteX10" fmla="*/ 6889411 w 7943414"/>
              <a:gd name="connsiteY10" fmla="*/ 347773 h 359012"/>
              <a:gd name="connsiteX11" fmla="*/ 6728867 w 7943414"/>
              <a:gd name="connsiteY11" fmla="*/ 229110 h 359012"/>
              <a:gd name="connsiteX12" fmla="*/ 6358919 w 7943414"/>
              <a:gd name="connsiteY12" fmla="*/ 117428 h 359012"/>
              <a:gd name="connsiteX13" fmla="*/ 5395658 w 7943414"/>
              <a:gd name="connsiteY13" fmla="*/ 26686 h 359012"/>
              <a:gd name="connsiteX14" fmla="*/ 4104330 w 7943414"/>
              <a:gd name="connsiteY14" fmla="*/ 5745 h 359012"/>
              <a:gd name="connsiteX15" fmla="*/ 2673399 w 7943414"/>
              <a:gd name="connsiteY15" fmla="*/ 117428 h 359012"/>
              <a:gd name="connsiteX16" fmla="*/ 2359292 w 7943414"/>
              <a:gd name="connsiteY16" fmla="*/ 117428 h 359012"/>
              <a:gd name="connsiteX17" fmla="*/ 1933503 w 7943414"/>
              <a:gd name="connsiteY17" fmla="*/ 96487 h 359012"/>
              <a:gd name="connsiteX18" fmla="*/ 1598455 w 7943414"/>
              <a:gd name="connsiteY18" fmla="*/ 250051 h 359012"/>
              <a:gd name="connsiteX19" fmla="*/ 2094046 w 7943414"/>
              <a:gd name="connsiteY19" fmla="*/ 270991 h 359012"/>
              <a:gd name="connsiteX20" fmla="*/ 1947463 w 7943414"/>
              <a:gd name="connsiteY20" fmla="*/ 26686 h 359012"/>
              <a:gd name="connsiteX21" fmla="*/ 1340190 w 7943414"/>
              <a:gd name="connsiteY21" fmla="*/ 103468 h 359012"/>
              <a:gd name="connsiteX22" fmla="*/ 858559 w 7943414"/>
              <a:gd name="connsiteY22" fmla="*/ 208170 h 359012"/>
              <a:gd name="connsiteX23" fmla="*/ 495591 w 7943414"/>
              <a:gd name="connsiteY23" fmla="*/ 257031 h 359012"/>
              <a:gd name="connsiteX24" fmla="*/ 188464 w 7943414"/>
              <a:gd name="connsiteY24" fmla="*/ 201190 h 359012"/>
              <a:gd name="connsiteX25" fmla="*/ 0 w 7943414"/>
              <a:gd name="connsiteY25" fmla="*/ 96487 h 359012"/>
              <a:gd name="connsiteX0" fmla="*/ 7943414 w 7943414"/>
              <a:gd name="connsiteY0" fmla="*/ 89507 h 361328"/>
              <a:gd name="connsiteX1" fmla="*/ 7692129 w 7943414"/>
              <a:gd name="connsiteY1" fmla="*/ 131388 h 361328"/>
              <a:gd name="connsiteX2" fmla="*/ 7622327 w 7943414"/>
              <a:gd name="connsiteY2" fmla="*/ 215150 h 361328"/>
              <a:gd name="connsiteX3" fmla="*/ 7782871 w 7943414"/>
              <a:gd name="connsiteY3" fmla="*/ 229110 h 361328"/>
              <a:gd name="connsiteX4" fmla="*/ 7817771 w 7943414"/>
              <a:gd name="connsiteY4" fmla="*/ 187229 h 361328"/>
              <a:gd name="connsiteX5" fmla="*/ 7622327 w 7943414"/>
              <a:gd name="connsiteY5" fmla="*/ 110448 h 361328"/>
              <a:gd name="connsiteX6" fmla="*/ 6973173 w 7943414"/>
              <a:gd name="connsiteY6" fmla="*/ 166289 h 361328"/>
              <a:gd name="connsiteX7" fmla="*/ 6770748 w 7943414"/>
              <a:gd name="connsiteY7" fmla="*/ 250051 h 361328"/>
              <a:gd name="connsiteX8" fmla="*/ 6805649 w 7943414"/>
              <a:gd name="connsiteY8" fmla="*/ 347773 h 361328"/>
              <a:gd name="connsiteX9" fmla="*/ 6889411 w 7943414"/>
              <a:gd name="connsiteY9" fmla="*/ 347773 h 361328"/>
              <a:gd name="connsiteX10" fmla="*/ 6728867 w 7943414"/>
              <a:gd name="connsiteY10" fmla="*/ 229110 h 361328"/>
              <a:gd name="connsiteX11" fmla="*/ 6358919 w 7943414"/>
              <a:gd name="connsiteY11" fmla="*/ 117428 h 361328"/>
              <a:gd name="connsiteX12" fmla="*/ 5395658 w 7943414"/>
              <a:gd name="connsiteY12" fmla="*/ 26686 h 361328"/>
              <a:gd name="connsiteX13" fmla="*/ 4104330 w 7943414"/>
              <a:gd name="connsiteY13" fmla="*/ 5745 h 361328"/>
              <a:gd name="connsiteX14" fmla="*/ 2673399 w 7943414"/>
              <a:gd name="connsiteY14" fmla="*/ 117428 h 361328"/>
              <a:gd name="connsiteX15" fmla="*/ 2359292 w 7943414"/>
              <a:gd name="connsiteY15" fmla="*/ 117428 h 361328"/>
              <a:gd name="connsiteX16" fmla="*/ 1933503 w 7943414"/>
              <a:gd name="connsiteY16" fmla="*/ 96487 h 361328"/>
              <a:gd name="connsiteX17" fmla="*/ 1598455 w 7943414"/>
              <a:gd name="connsiteY17" fmla="*/ 250051 h 361328"/>
              <a:gd name="connsiteX18" fmla="*/ 2094046 w 7943414"/>
              <a:gd name="connsiteY18" fmla="*/ 270991 h 361328"/>
              <a:gd name="connsiteX19" fmla="*/ 1947463 w 7943414"/>
              <a:gd name="connsiteY19" fmla="*/ 26686 h 361328"/>
              <a:gd name="connsiteX20" fmla="*/ 1340190 w 7943414"/>
              <a:gd name="connsiteY20" fmla="*/ 103468 h 361328"/>
              <a:gd name="connsiteX21" fmla="*/ 858559 w 7943414"/>
              <a:gd name="connsiteY21" fmla="*/ 208170 h 361328"/>
              <a:gd name="connsiteX22" fmla="*/ 495591 w 7943414"/>
              <a:gd name="connsiteY22" fmla="*/ 257031 h 361328"/>
              <a:gd name="connsiteX23" fmla="*/ 188464 w 7943414"/>
              <a:gd name="connsiteY23" fmla="*/ 201190 h 361328"/>
              <a:gd name="connsiteX24" fmla="*/ 0 w 7943414"/>
              <a:gd name="connsiteY24" fmla="*/ 96487 h 361328"/>
              <a:gd name="connsiteX0" fmla="*/ 7943414 w 7943414"/>
              <a:gd name="connsiteY0" fmla="*/ 89507 h 378603"/>
              <a:gd name="connsiteX1" fmla="*/ 7692129 w 7943414"/>
              <a:gd name="connsiteY1" fmla="*/ 131388 h 378603"/>
              <a:gd name="connsiteX2" fmla="*/ 7622327 w 7943414"/>
              <a:gd name="connsiteY2" fmla="*/ 215150 h 378603"/>
              <a:gd name="connsiteX3" fmla="*/ 7782871 w 7943414"/>
              <a:gd name="connsiteY3" fmla="*/ 229110 h 378603"/>
              <a:gd name="connsiteX4" fmla="*/ 7817771 w 7943414"/>
              <a:gd name="connsiteY4" fmla="*/ 187229 h 378603"/>
              <a:gd name="connsiteX5" fmla="*/ 7622327 w 7943414"/>
              <a:gd name="connsiteY5" fmla="*/ 110448 h 378603"/>
              <a:gd name="connsiteX6" fmla="*/ 6973173 w 7943414"/>
              <a:gd name="connsiteY6" fmla="*/ 166289 h 378603"/>
              <a:gd name="connsiteX7" fmla="*/ 6770748 w 7943414"/>
              <a:gd name="connsiteY7" fmla="*/ 250051 h 378603"/>
              <a:gd name="connsiteX8" fmla="*/ 6805649 w 7943414"/>
              <a:gd name="connsiteY8" fmla="*/ 347773 h 378603"/>
              <a:gd name="connsiteX9" fmla="*/ 6889411 w 7943414"/>
              <a:gd name="connsiteY9" fmla="*/ 347773 h 378603"/>
              <a:gd name="connsiteX10" fmla="*/ 6728867 w 7943414"/>
              <a:gd name="connsiteY10" fmla="*/ 229110 h 378603"/>
              <a:gd name="connsiteX11" fmla="*/ 6358919 w 7943414"/>
              <a:gd name="connsiteY11" fmla="*/ 117428 h 378603"/>
              <a:gd name="connsiteX12" fmla="*/ 5395658 w 7943414"/>
              <a:gd name="connsiteY12" fmla="*/ 26686 h 378603"/>
              <a:gd name="connsiteX13" fmla="*/ 4104330 w 7943414"/>
              <a:gd name="connsiteY13" fmla="*/ 5745 h 378603"/>
              <a:gd name="connsiteX14" fmla="*/ 2673399 w 7943414"/>
              <a:gd name="connsiteY14" fmla="*/ 117428 h 378603"/>
              <a:gd name="connsiteX15" fmla="*/ 2359292 w 7943414"/>
              <a:gd name="connsiteY15" fmla="*/ 117428 h 378603"/>
              <a:gd name="connsiteX16" fmla="*/ 1933503 w 7943414"/>
              <a:gd name="connsiteY16" fmla="*/ 96487 h 378603"/>
              <a:gd name="connsiteX17" fmla="*/ 1598455 w 7943414"/>
              <a:gd name="connsiteY17" fmla="*/ 250051 h 378603"/>
              <a:gd name="connsiteX18" fmla="*/ 2094046 w 7943414"/>
              <a:gd name="connsiteY18" fmla="*/ 270991 h 378603"/>
              <a:gd name="connsiteX19" fmla="*/ 1947463 w 7943414"/>
              <a:gd name="connsiteY19" fmla="*/ 26686 h 378603"/>
              <a:gd name="connsiteX20" fmla="*/ 1340190 w 7943414"/>
              <a:gd name="connsiteY20" fmla="*/ 103468 h 378603"/>
              <a:gd name="connsiteX21" fmla="*/ 858559 w 7943414"/>
              <a:gd name="connsiteY21" fmla="*/ 208170 h 378603"/>
              <a:gd name="connsiteX22" fmla="*/ 495591 w 7943414"/>
              <a:gd name="connsiteY22" fmla="*/ 257031 h 378603"/>
              <a:gd name="connsiteX23" fmla="*/ 188464 w 7943414"/>
              <a:gd name="connsiteY23" fmla="*/ 201190 h 378603"/>
              <a:gd name="connsiteX24" fmla="*/ 0 w 7943414"/>
              <a:gd name="connsiteY24" fmla="*/ 96487 h 378603"/>
              <a:gd name="connsiteX0" fmla="*/ 7943414 w 7943414"/>
              <a:gd name="connsiteY0" fmla="*/ 89507 h 399934"/>
              <a:gd name="connsiteX1" fmla="*/ 7692129 w 7943414"/>
              <a:gd name="connsiteY1" fmla="*/ 131388 h 399934"/>
              <a:gd name="connsiteX2" fmla="*/ 7622327 w 7943414"/>
              <a:gd name="connsiteY2" fmla="*/ 215150 h 399934"/>
              <a:gd name="connsiteX3" fmla="*/ 7782871 w 7943414"/>
              <a:gd name="connsiteY3" fmla="*/ 229110 h 399934"/>
              <a:gd name="connsiteX4" fmla="*/ 7817771 w 7943414"/>
              <a:gd name="connsiteY4" fmla="*/ 187229 h 399934"/>
              <a:gd name="connsiteX5" fmla="*/ 7622327 w 7943414"/>
              <a:gd name="connsiteY5" fmla="*/ 110448 h 399934"/>
              <a:gd name="connsiteX6" fmla="*/ 6973173 w 7943414"/>
              <a:gd name="connsiteY6" fmla="*/ 166289 h 399934"/>
              <a:gd name="connsiteX7" fmla="*/ 6770748 w 7943414"/>
              <a:gd name="connsiteY7" fmla="*/ 250051 h 399934"/>
              <a:gd name="connsiteX8" fmla="*/ 6766972 w 7943414"/>
              <a:gd name="connsiteY8" fmla="*/ 375694 h 399934"/>
              <a:gd name="connsiteX9" fmla="*/ 6889411 w 7943414"/>
              <a:gd name="connsiteY9" fmla="*/ 347773 h 399934"/>
              <a:gd name="connsiteX10" fmla="*/ 6728867 w 7943414"/>
              <a:gd name="connsiteY10" fmla="*/ 229110 h 399934"/>
              <a:gd name="connsiteX11" fmla="*/ 6358919 w 7943414"/>
              <a:gd name="connsiteY11" fmla="*/ 117428 h 399934"/>
              <a:gd name="connsiteX12" fmla="*/ 5395658 w 7943414"/>
              <a:gd name="connsiteY12" fmla="*/ 26686 h 399934"/>
              <a:gd name="connsiteX13" fmla="*/ 4104330 w 7943414"/>
              <a:gd name="connsiteY13" fmla="*/ 5745 h 399934"/>
              <a:gd name="connsiteX14" fmla="*/ 2673399 w 7943414"/>
              <a:gd name="connsiteY14" fmla="*/ 117428 h 399934"/>
              <a:gd name="connsiteX15" fmla="*/ 2359292 w 7943414"/>
              <a:gd name="connsiteY15" fmla="*/ 117428 h 399934"/>
              <a:gd name="connsiteX16" fmla="*/ 1933503 w 7943414"/>
              <a:gd name="connsiteY16" fmla="*/ 96487 h 399934"/>
              <a:gd name="connsiteX17" fmla="*/ 1598455 w 7943414"/>
              <a:gd name="connsiteY17" fmla="*/ 250051 h 399934"/>
              <a:gd name="connsiteX18" fmla="*/ 2094046 w 7943414"/>
              <a:gd name="connsiteY18" fmla="*/ 270991 h 399934"/>
              <a:gd name="connsiteX19" fmla="*/ 1947463 w 7943414"/>
              <a:gd name="connsiteY19" fmla="*/ 26686 h 399934"/>
              <a:gd name="connsiteX20" fmla="*/ 1340190 w 7943414"/>
              <a:gd name="connsiteY20" fmla="*/ 103468 h 399934"/>
              <a:gd name="connsiteX21" fmla="*/ 858559 w 7943414"/>
              <a:gd name="connsiteY21" fmla="*/ 208170 h 399934"/>
              <a:gd name="connsiteX22" fmla="*/ 495591 w 7943414"/>
              <a:gd name="connsiteY22" fmla="*/ 257031 h 399934"/>
              <a:gd name="connsiteX23" fmla="*/ 188464 w 7943414"/>
              <a:gd name="connsiteY23" fmla="*/ 201190 h 399934"/>
              <a:gd name="connsiteX24" fmla="*/ 0 w 7943414"/>
              <a:gd name="connsiteY24" fmla="*/ 96487 h 399934"/>
              <a:gd name="connsiteX0" fmla="*/ 7943414 w 7943414"/>
              <a:gd name="connsiteY0" fmla="*/ 89507 h 408104"/>
              <a:gd name="connsiteX1" fmla="*/ 7692129 w 7943414"/>
              <a:gd name="connsiteY1" fmla="*/ 131388 h 408104"/>
              <a:gd name="connsiteX2" fmla="*/ 7622327 w 7943414"/>
              <a:gd name="connsiteY2" fmla="*/ 215150 h 408104"/>
              <a:gd name="connsiteX3" fmla="*/ 7782871 w 7943414"/>
              <a:gd name="connsiteY3" fmla="*/ 229110 h 408104"/>
              <a:gd name="connsiteX4" fmla="*/ 7817771 w 7943414"/>
              <a:gd name="connsiteY4" fmla="*/ 187229 h 408104"/>
              <a:gd name="connsiteX5" fmla="*/ 7622327 w 7943414"/>
              <a:gd name="connsiteY5" fmla="*/ 110448 h 408104"/>
              <a:gd name="connsiteX6" fmla="*/ 6973173 w 7943414"/>
              <a:gd name="connsiteY6" fmla="*/ 166289 h 408104"/>
              <a:gd name="connsiteX7" fmla="*/ 6770748 w 7943414"/>
              <a:gd name="connsiteY7" fmla="*/ 250051 h 408104"/>
              <a:gd name="connsiteX8" fmla="*/ 6766972 w 7943414"/>
              <a:gd name="connsiteY8" fmla="*/ 375694 h 408104"/>
              <a:gd name="connsiteX9" fmla="*/ 6889411 w 7943414"/>
              <a:gd name="connsiteY9" fmla="*/ 347773 h 408104"/>
              <a:gd name="connsiteX10" fmla="*/ 6728867 w 7943414"/>
              <a:gd name="connsiteY10" fmla="*/ 229110 h 408104"/>
              <a:gd name="connsiteX11" fmla="*/ 6358919 w 7943414"/>
              <a:gd name="connsiteY11" fmla="*/ 117428 h 408104"/>
              <a:gd name="connsiteX12" fmla="*/ 5395658 w 7943414"/>
              <a:gd name="connsiteY12" fmla="*/ 26686 h 408104"/>
              <a:gd name="connsiteX13" fmla="*/ 4104330 w 7943414"/>
              <a:gd name="connsiteY13" fmla="*/ 5745 h 408104"/>
              <a:gd name="connsiteX14" fmla="*/ 2673399 w 7943414"/>
              <a:gd name="connsiteY14" fmla="*/ 117428 h 408104"/>
              <a:gd name="connsiteX15" fmla="*/ 2359292 w 7943414"/>
              <a:gd name="connsiteY15" fmla="*/ 117428 h 408104"/>
              <a:gd name="connsiteX16" fmla="*/ 1933503 w 7943414"/>
              <a:gd name="connsiteY16" fmla="*/ 96487 h 408104"/>
              <a:gd name="connsiteX17" fmla="*/ 1598455 w 7943414"/>
              <a:gd name="connsiteY17" fmla="*/ 250051 h 408104"/>
              <a:gd name="connsiteX18" fmla="*/ 2094046 w 7943414"/>
              <a:gd name="connsiteY18" fmla="*/ 270991 h 408104"/>
              <a:gd name="connsiteX19" fmla="*/ 1947463 w 7943414"/>
              <a:gd name="connsiteY19" fmla="*/ 26686 h 408104"/>
              <a:gd name="connsiteX20" fmla="*/ 1340190 w 7943414"/>
              <a:gd name="connsiteY20" fmla="*/ 103468 h 408104"/>
              <a:gd name="connsiteX21" fmla="*/ 858559 w 7943414"/>
              <a:gd name="connsiteY21" fmla="*/ 208170 h 408104"/>
              <a:gd name="connsiteX22" fmla="*/ 495591 w 7943414"/>
              <a:gd name="connsiteY22" fmla="*/ 257031 h 408104"/>
              <a:gd name="connsiteX23" fmla="*/ 188464 w 7943414"/>
              <a:gd name="connsiteY23" fmla="*/ 201190 h 408104"/>
              <a:gd name="connsiteX24" fmla="*/ 0 w 7943414"/>
              <a:gd name="connsiteY24" fmla="*/ 96487 h 408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7943414" h="408104">
                <a:moveTo>
                  <a:pt x="7943414" y="89507"/>
                </a:moveTo>
                <a:cubicBezTo>
                  <a:pt x="7844529" y="99977"/>
                  <a:pt x="7745644" y="110447"/>
                  <a:pt x="7692129" y="131388"/>
                </a:cubicBezTo>
                <a:cubicBezTo>
                  <a:pt x="7638614" y="152329"/>
                  <a:pt x="7607203" y="198863"/>
                  <a:pt x="7622327" y="215150"/>
                </a:cubicBezTo>
                <a:cubicBezTo>
                  <a:pt x="7637451" y="231437"/>
                  <a:pt x="7750297" y="233764"/>
                  <a:pt x="7782871" y="229110"/>
                </a:cubicBezTo>
                <a:cubicBezTo>
                  <a:pt x="7815445" y="224456"/>
                  <a:pt x="7844528" y="207006"/>
                  <a:pt x="7817771" y="187229"/>
                </a:cubicBezTo>
                <a:cubicBezTo>
                  <a:pt x="7791014" y="167452"/>
                  <a:pt x="7763093" y="113938"/>
                  <a:pt x="7622327" y="110448"/>
                </a:cubicBezTo>
                <a:cubicBezTo>
                  <a:pt x="7481561" y="106958"/>
                  <a:pt x="7115103" y="143022"/>
                  <a:pt x="6973173" y="166289"/>
                </a:cubicBezTo>
                <a:cubicBezTo>
                  <a:pt x="6831243" y="189556"/>
                  <a:pt x="6805115" y="215150"/>
                  <a:pt x="6770748" y="250051"/>
                </a:cubicBezTo>
                <a:cubicBezTo>
                  <a:pt x="6736381" y="284952"/>
                  <a:pt x="6650502" y="317526"/>
                  <a:pt x="6766972" y="375694"/>
                </a:cubicBezTo>
                <a:cubicBezTo>
                  <a:pt x="6883442" y="433862"/>
                  <a:pt x="6921548" y="407105"/>
                  <a:pt x="6889411" y="347773"/>
                </a:cubicBezTo>
                <a:cubicBezTo>
                  <a:pt x="6857274" y="288441"/>
                  <a:pt x="6817282" y="267501"/>
                  <a:pt x="6728867" y="229110"/>
                </a:cubicBezTo>
                <a:cubicBezTo>
                  <a:pt x="6640452" y="190719"/>
                  <a:pt x="6581120" y="151165"/>
                  <a:pt x="6358919" y="117428"/>
                </a:cubicBezTo>
                <a:cubicBezTo>
                  <a:pt x="6136718" y="83691"/>
                  <a:pt x="5771423" y="45300"/>
                  <a:pt x="5395658" y="26686"/>
                </a:cubicBezTo>
                <a:cubicBezTo>
                  <a:pt x="5019893" y="8072"/>
                  <a:pt x="4558040" y="-9379"/>
                  <a:pt x="4104330" y="5745"/>
                </a:cubicBezTo>
                <a:cubicBezTo>
                  <a:pt x="3650620" y="20869"/>
                  <a:pt x="2964239" y="98814"/>
                  <a:pt x="2673399" y="117428"/>
                </a:cubicBezTo>
                <a:cubicBezTo>
                  <a:pt x="2382559" y="136042"/>
                  <a:pt x="2482608" y="120918"/>
                  <a:pt x="2359292" y="117428"/>
                </a:cubicBezTo>
                <a:cubicBezTo>
                  <a:pt x="2235976" y="113938"/>
                  <a:pt x="2060309" y="74383"/>
                  <a:pt x="1933503" y="96487"/>
                </a:cubicBezTo>
                <a:cubicBezTo>
                  <a:pt x="1806697" y="118591"/>
                  <a:pt x="1565252" y="123245"/>
                  <a:pt x="1598455" y="250051"/>
                </a:cubicBezTo>
                <a:cubicBezTo>
                  <a:pt x="1631658" y="376857"/>
                  <a:pt x="2022986" y="336138"/>
                  <a:pt x="2094046" y="270991"/>
                </a:cubicBezTo>
                <a:cubicBezTo>
                  <a:pt x="2165106" y="205844"/>
                  <a:pt x="2073106" y="54606"/>
                  <a:pt x="1947463" y="26686"/>
                </a:cubicBezTo>
                <a:cubicBezTo>
                  <a:pt x="1821820" y="-1234"/>
                  <a:pt x="1521674" y="73221"/>
                  <a:pt x="1340190" y="103468"/>
                </a:cubicBezTo>
                <a:cubicBezTo>
                  <a:pt x="1158706" y="133715"/>
                  <a:pt x="999325" y="182576"/>
                  <a:pt x="858559" y="208170"/>
                </a:cubicBezTo>
                <a:cubicBezTo>
                  <a:pt x="717793" y="233764"/>
                  <a:pt x="607273" y="258194"/>
                  <a:pt x="495591" y="257031"/>
                </a:cubicBezTo>
                <a:cubicBezTo>
                  <a:pt x="383909" y="255868"/>
                  <a:pt x="271062" y="227947"/>
                  <a:pt x="188464" y="201190"/>
                </a:cubicBezTo>
                <a:cubicBezTo>
                  <a:pt x="105866" y="174433"/>
                  <a:pt x="52933" y="135460"/>
                  <a:pt x="0" y="96487"/>
                </a:cubicBezTo>
              </a:path>
            </a:pathLst>
          </a:custGeom>
          <a:noFill/>
          <a:ln w="12700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182" tIns="44591" rIns="89182" bIns="44591" rtlCol="0" anchor="ctr"/>
          <a:lstStyle/>
          <a:p>
            <a:pPr algn="ctr" defTabSz="912582"/>
            <a:endParaRPr lang="en-US">
              <a:solidFill>
                <a:srgbClr val="FFFFFF"/>
              </a:solidFill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486395" flipH="1">
            <a:off x="178036" y="58614"/>
            <a:ext cx="465283" cy="51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6157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  <p:sldLayoutId id="2147483737" r:id="rId8"/>
    <p:sldLayoutId id="2147483738" r:id="rId9"/>
    <p:sldLayoutId id="2147483739" r:id="rId10"/>
    <p:sldLayoutId id="2147483740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514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rgbClr val="0070C0"/>
          </a:solidFill>
          <a:latin typeface="+mj-lt"/>
          <a:ea typeface="+mj-ea"/>
          <a:cs typeface="+mj-cs"/>
        </a:defRPr>
      </a:lvl1pPr>
    </p:titleStyle>
    <p:bodyStyle>
      <a:lvl1pPr marL="252424" marR="0" indent="-252424" algn="l" defTabSz="912272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9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34370" marR="0" indent="-110715" algn="l" defTabSz="912272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7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78701" marR="0" indent="-267183" algn="l" defTabSz="912272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7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51932" marR="0" indent="-195563" algn="l" defTabSz="91251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2053157" indent="-228130" algn="l" defTabSz="912514" rtl="0" eaLnBrk="1" latinLnBrk="0" hangingPunct="1">
        <a:spcBef>
          <a:spcPct val="20000"/>
        </a:spcBef>
        <a:buFont typeface="Arial" pitchFamily="34" charset="0"/>
        <a:buChar char="»"/>
        <a:defRPr sz="22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09414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5669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1924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8181" indent="-228130" algn="l" defTabSz="91251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251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56258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514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774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025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1285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7541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3797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0052" algn="l" defTabSz="91251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presa3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0"/>
            <a:ext cx="8075612" cy="649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40"/>
            <a:ext cx="8229600" cy="5000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72AD82B-4470-4ED5-A8F8-67311947E935}" type="datetime1">
              <a:rPr lang="ru-RU" smtClean="0">
                <a:solidFill>
                  <a:prstClr val="black"/>
                </a:solidFill>
              </a:rPr>
              <a:t>06.10.2016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764704" y="6616700"/>
            <a:ext cx="2133600" cy="4762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Calibri" pitchFamily="34" charset="0"/>
                <a:cs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52CE974-DCE6-4129-8EA7-D12A3E7A910B}" type="slidenum">
              <a:rPr lang="ru-RU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387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5pPr>
      <a:lvl6pPr marL="45710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42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132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843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832" indent="-342832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rtl="0" eaLnBrk="1" fontAlgn="base" hangingPunct="1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2773" indent="-228555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9882" indent="-228555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6990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099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20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831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5427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5">
            <a:lumMod val="9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presa3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611188" y="476250"/>
            <a:ext cx="8075612" cy="649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125540"/>
            <a:ext cx="8229600" cy="5000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149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A26BAA0D-105E-4FDD-92AE-9478D298BBE6}" type="datetime1">
              <a:rPr lang="ru-RU" smtClean="0">
                <a:solidFill>
                  <a:srgbClr val="000000"/>
                </a:solidFill>
              </a:rPr>
              <a:t>06.10.2016</a:t>
            </a:fld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2" y="6245225"/>
            <a:ext cx="2895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-1692694" y="6616700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>
            <a:lvl1pPr algn="r">
              <a:defRPr sz="1100">
                <a:latin typeface="Calibri" pitchFamily="34" charset="0"/>
                <a:cs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29F6F73-E8FF-4429-9ADD-32F8BBD0BEAD}" type="slidenum">
              <a:rPr lang="ru-RU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58493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5pPr>
      <a:lvl6pPr marL="45710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6pPr>
      <a:lvl7pPr marL="914218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7pPr>
      <a:lvl8pPr marL="137132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8pPr>
      <a:lvl9pPr marL="182843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pitchFamily="34" charset="0"/>
        </a:defRPr>
      </a:lvl9pPr>
    </p:titleStyle>
    <p:bodyStyle>
      <a:lvl1pPr marL="342832" indent="-342832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rtl="0" eaLnBrk="1" fontAlgn="base" hangingPunct="1">
        <a:spcBef>
          <a:spcPct val="20000"/>
        </a:spcBef>
        <a:spcAft>
          <a:spcPct val="0"/>
        </a:spcAft>
        <a:buChar char="–"/>
        <a:defRPr sz="2200">
          <a:solidFill>
            <a:schemeClr val="tx1"/>
          </a:solidFill>
          <a:latin typeface="+mn-lt"/>
        </a:defRPr>
      </a:lvl2pPr>
      <a:lvl3pPr marL="1142773" indent="-228555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599882" indent="-228555" algn="l" rtl="0" eaLnBrk="1" fontAlgn="base" hangingPunct="1">
        <a:spcBef>
          <a:spcPct val="20000"/>
        </a:spcBef>
        <a:spcAft>
          <a:spcPct val="0"/>
        </a:spcAft>
        <a:buChar char="–"/>
        <a:defRPr>
          <a:solidFill>
            <a:schemeClr val="tx1"/>
          </a:solidFill>
          <a:latin typeface="+mn-lt"/>
        </a:defRPr>
      </a:lvl4pPr>
      <a:lvl5pPr marL="2056990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5pPr>
      <a:lvl6pPr marL="2514099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6pPr>
      <a:lvl7pPr marL="297120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7pPr>
      <a:lvl8pPr marL="3428318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8pPr>
      <a:lvl9pPr marL="3885427" indent="-228555" algn="l" rtl="0" eaLnBrk="1" fontAlgn="base" hangingPunct="1">
        <a:spcBef>
          <a:spcPct val="20000"/>
        </a:spcBef>
        <a:spcAft>
          <a:spcPct val="0"/>
        </a:spcAft>
        <a:buFont typeface="Wingdings" pitchFamily="2" charset="2"/>
        <a:buChar char="§"/>
        <a:defRPr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DB4F69-AD69-43A1-B923-4F0835128EE6}" type="datetime1">
              <a:rPr lang="ru-RU" smtClean="0"/>
              <a:t>06.10.2016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2" y="6356352"/>
            <a:ext cx="2895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2" y="6356352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7834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  <p:sldLayoutId id="2147483769" r:id="rId2"/>
    <p:sldLayoutId id="2147483770" r:id="rId3"/>
    <p:sldLayoutId id="2147483771" r:id="rId4"/>
    <p:sldLayoutId id="2147483772" r:id="rId5"/>
    <p:sldLayoutId id="2147483773" r:id="rId6"/>
    <p:sldLayoutId id="2147483774" r:id="rId7"/>
    <p:sldLayoutId id="2147483775" r:id="rId8"/>
    <p:sldLayoutId id="2147483776" r:id="rId9"/>
    <p:sldLayoutId id="2147483777" r:id="rId10"/>
    <p:sldLayoutId id="2147483778" r:id="rId11"/>
  </p:sldLayoutIdLst>
  <p:hf hdr="0" ftr="0" dt="0"/>
  <p:txStyles>
    <p:titleStyle>
      <a:lvl1pPr algn="ctr" defTabSz="91421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2" indent="-342832" algn="l" defTabSz="91421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defTabSz="91421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3" indent="-228555" algn="l" defTabSz="91421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2" indent="-228555" algn="l" defTabSz="91421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90" indent="-228555" algn="l" defTabSz="91421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9" indent="-228555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5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8" indent="-228555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7" indent="-228555" algn="l" defTabSz="91421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9142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7302588" y="5181176"/>
            <a:ext cx="1772044" cy="154030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8329" y="57152"/>
            <a:ext cx="2765673" cy="1123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0" y="5776488"/>
            <a:ext cx="1772044" cy="944991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 defTabSz="457109"/>
            <a:endParaRPr lang="ru-RU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167185"/>
            <a:ext cx="8229600" cy="4958981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3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09"/>
            <a:fld id="{74222E2F-C5D1-4D51-A646-0CB1FE03C53E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06.10.2016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2" y="6356353"/>
            <a:ext cx="2895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09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-1821541" y="6538916"/>
            <a:ext cx="2133600" cy="365125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09"/>
            <a:fld id="{512F38E9-B159-BB48-8760-20A3108BB91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457109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" y="0"/>
            <a:ext cx="7401209" cy="87630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pic>
        <p:nvPicPr>
          <p:cNvPr id="11" name="Picture 3" descr="C:\Users\vtarasova\Desktop\FRUTO\PRESENTATION IMAGES\лого\orangeviy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0631" y="57149"/>
            <a:ext cx="693371" cy="6126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Номер слайда 5"/>
          <p:cNvSpPr txBox="1">
            <a:spLocks/>
          </p:cNvSpPr>
          <p:nvPr/>
        </p:nvSpPr>
        <p:spPr>
          <a:xfrm>
            <a:off x="6674757" y="749674"/>
            <a:ext cx="2133600" cy="365125"/>
          </a:xfrm>
          <a:prstGeom prst="rect">
            <a:avLst/>
          </a:prstGeom>
        </p:spPr>
        <p:txBody>
          <a:bodyPr lIns="91422" tIns="45711" rIns="91422" bIns="45711"/>
          <a:lstStyle>
            <a:defPPr>
              <a:defRPr lang="ru-RU"/>
            </a:defPPr>
            <a:lvl1pPr marL="0" algn="l" defTabSz="4572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512F38E9-B159-BB48-8760-20A3108BB918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 algn="r"/>
              <a:t>‹#›</a:t>
            </a:fld>
            <a:endParaRPr lang="ru-RU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8820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0" r:id="rId1"/>
    <p:sldLayoutId id="2147483781" r:id="rId2"/>
    <p:sldLayoutId id="2147483782" r:id="rId3"/>
    <p:sldLayoutId id="2147483783" r:id="rId4"/>
    <p:sldLayoutId id="2147483784" r:id="rId5"/>
    <p:sldLayoutId id="2147483785" r:id="rId6"/>
    <p:sldLayoutId id="2147483786" r:id="rId7"/>
    <p:sldLayoutId id="2147483787" r:id="rId8"/>
    <p:sldLayoutId id="2147483788" r:id="rId9"/>
    <p:sldLayoutId id="2147483789" r:id="rId10"/>
    <p:sldLayoutId id="2147483790" r:id="rId11"/>
    <p:sldLayoutId id="214748379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109" rtl="0" eaLnBrk="1" latinLnBrk="0" hangingPunct="1"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32" indent="-342832" algn="l" defTabSz="457109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02" indent="-285694" algn="l" defTabSz="457109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73" indent="-228555" algn="l" defTabSz="457109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82" indent="-228555" algn="l" defTabSz="457109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90" indent="-228555" algn="l" defTabSz="457109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99" indent="-228555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8" indent="-228555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8" indent="-228555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7" indent="-228555" algn="l" defTabSz="457109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8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6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5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4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2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72" algn="l" defTabSz="457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emf"/><Relationship Id="rId2" Type="http://schemas.openxmlformats.org/officeDocument/2006/relationships/image" Target="../media/image75.emf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177.xml"/><Relationship Id="rId4" Type="http://schemas.openxmlformats.org/officeDocument/2006/relationships/image" Target="../media/image7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21.jpe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5.xml"/><Relationship Id="rId6" Type="http://schemas.openxmlformats.org/officeDocument/2006/relationships/image" Target="../media/image24.jpeg"/><Relationship Id="rId11" Type="http://schemas.openxmlformats.org/officeDocument/2006/relationships/image" Target="../media/image29.png"/><Relationship Id="rId5" Type="http://schemas.openxmlformats.org/officeDocument/2006/relationships/hyperlink" Target="http://images.yandex.ru/yandsearch?p=16&amp;text=%D0%BC%D0%B0%D0%BB%D1%8B%D1%88%20%D1%82%D0%B2%D0%BE%D1%80%D0%BE%D0%B6%D0%BE%D0%BA&amp;fp=16&amp;pos=503&amp;uinfo=ww-1349-wh-673-fw-1124-fh-467-pd-1&amp;rpt=simage&amp;img_url=http://static9.depositphotos.com/1011643/1115/i/110/depositphotos_11158483-Young-mother-and-baby-girl-in-doctor-office.jpg" TargetMode="External"/><Relationship Id="rId15" Type="http://schemas.openxmlformats.org/officeDocument/2006/relationships/image" Target="../media/image32.png"/><Relationship Id="rId10" Type="http://schemas.openxmlformats.org/officeDocument/2006/relationships/image" Target="../media/image28.png"/><Relationship Id="rId4" Type="http://schemas.openxmlformats.org/officeDocument/2006/relationships/image" Target="../media/image23.png"/><Relationship Id="rId9" Type="http://schemas.openxmlformats.org/officeDocument/2006/relationships/image" Target="../media/image27.png"/><Relationship Id="rId14" Type="http://schemas.openxmlformats.org/officeDocument/2006/relationships/hyperlink" Target="http://img-fotki.yandex.ru/get/6203/119528728.1918/0_d2c00_9556abc6_XL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jpeg"/><Relationship Id="rId13" Type="http://schemas.openxmlformats.org/officeDocument/2006/relationships/image" Target="../media/image44.png"/><Relationship Id="rId3" Type="http://schemas.openxmlformats.org/officeDocument/2006/relationships/image" Target="../media/image34.jpeg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37.jpe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4" Type="http://schemas.openxmlformats.org/officeDocument/2006/relationships/image" Target="../media/image35.jpeg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7" Type="http://schemas.openxmlformats.org/officeDocument/2006/relationships/image" Target="../media/image57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6.png"/><Relationship Id="rId5" Type="http://schemas.openxmlformats.org/officeDocument/2006/relationships/image" Target="../media/image55.jpeg"/><Relationship Id="rId4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png"/><Relationship Id="rId13" Type="http://schemas.openxmlformats.org/officeDocument/2006/relationships/image" Target="../media/image67.png"/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12" Type="http://schemas.openxmlformats.org/officeDocument/2006/relationships/image" Target="../media/image6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61.png"/><Relationship Id="rId11" Type="http://schemas.openxmlformats.org/officeDocument/2006/relationships/image" Target="../media/image65.png"/><Relationship Id="rId5" Type="http://schemas.openxmlformats.org/officeDocument/2006/relationships/image" Target="../media/image60.png"/><Relationship Id="rId10" Type="http://schemas.openxmlformats.org/officeDocument/2006/relationships/image" Target="../media/image64.png"/><Relationship Id="rId4" Type="http://schemas.openxmlformats.org/officeDocument/2006/relationships/image" Target="../media/image59.png"/><Relationship Id="rId9" Type="http://schemas.openxmlformats.org/officeDocument/2006/relationships/image" Target="../media/image5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4.jpeg"/><Relationship Id="rId3" Type="http://schemas.openxmlformats.org/officeDocument/2006/relationships/image" Target="../media/image47.png"/><Relationship Id="rId7" Type="http://schemas.openxmlformats.org/officeDocument/2006/relationships/image" Target="../media/image73.pn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72.png"/><Relationship Id="rId5" Type="http://schemas.openxmlformats.org/officeDocument/2006/relationships/image" Target="../media/image71.png"/><Relationship Id="rId4" Type="http://schemas.openxmlformats.org/officeDocument/2006/relationships/image" Target="../media/image7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3576689"/>
            <a:ext cx="2736304" cy="25713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429260" y="3908260"/>
            <a:ext cx="8298732" cy="1908197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r>
              <a:rPr lang="ru-RU" sz="3600" b="1" dirty="0" smtClean="0">
                <a:solidFill>
                  <a:srgbClr val="00B050"/>
                </a:solidFill>
              </a:rPr>
              <a:t>Новинка в линейке овощных «салатиков» </a:t>
            </a:r>
            <a:r>
              <a:rPr lang="ru-RU" sz="3600" b="1" dirty="0" err="1" smtClean="0">
                <a:solidFill>
                  <a:srgbClr val="00B050"/>
                </a:solidFill>
              </a:rPr>
              <a:t>ФрутоНяня</a:t>
            </a:r>
            <a:r>
              <a:rPr lang="ru-RU" sz="3600" b="1" dirty="0" smtClean="0">
                <a:solidFill>
                  <a:srgbClr val="00B050"/>
                </a:solidFill>
              </a:rPr>
              <a:t>:</a:t>
            </a:r>
            <a:endParaRPr lang="ru-RU" sz="2400" b="1" dirty="0">
              <a:solidFill>
                <a:srgbClr val="00B050"/>
              </a:solidFill>
            </a:endParaRPr>
          </a:p>
          <a:p>
            <a:r>
              <a:rPr lang="ru-RU" sz="2800" b="1" dirty="0" smtClean="0">
                <a:solidFill>
                  <a:srgbClr val="FF0000"/>
                </a:solidFill>
              </a:rPr>
              <a:t>«</a:t>
            </a:r>
            <a:r>
              <a:rPr lang="ru-RU" sz="2800" b="1" dirty="0">
                <a:solidFill>
                  <a:srgbClr val="FF0000"/>
                </a:solidFill>
              </a:rPr>
              <a:t>Мой первый салатик»</a:t>
            </a:r>
          </a:p>
          <a:p>
            <a:endParaRPr lang="ru-RU" dirty="0"/>
          </a:p>
        </p:txBody>
      </p:sp>
      <p:pic>
        <p:nvPicPr>
          <p:cNvPr id="1026" name="Picture 2" descr="Картинки по запросу брокколи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627"/>
          <a:stretch/>
        </p:blipFill>
        <p:spPr bwMode="auto">
          <a:xfrm>
            <a:off x="179512" y="1395262"/>
            <a:ext cx="2821564" cy="21057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poleznenko.ru/wp-content/uploads/2013/06/cvetnaja-kapusta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076" y="1395262"/>
            <a:ext cx="3155100" cy="2095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ogrudnichke.ru/wp-content/uploads/2015/09/eat-your-greens-puree-484x363-top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75530" y="1395262"/>
            <a:ext cx="2788958" cy="20917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5879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457200" y="548680"/>
            <a:ext cx="8229600" cy="576064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21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rgbClr val="0070C0"/>
                </a:solidFill>
              </a:rPr>
              <a:t>Прогноз АКБ </a:t>
            </a:r>
            <a:endParaRPr lang="ru-RU" sz="2400" b="1" dirty="0">
              <a:solidFill>
                <a:srgbClr val="0070C0"/>
              </a:solidFill>
            </a:endParaRPr>
          </a:p>
        </p:txBody>
      </p:sp>
      <p:pic>
        <p:nvPicPr>
          <p:cNvPr id="3" name="Picture 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772816"/>
            <a:ext cx="4810125" cy="98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Скругленный прямоугольник 3"/>
          <p:cNvSpPr/>
          <p:nvPr/>
        </p:nvSpPr>
        <p:spPr>
          <a:xfrm>
            <a:off x="544758" y="1268760"/>
            <a:ext cx="1610226" cy="36004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о каналам</a:t>
            </a:r>
            <a:endParaRPr lang="ru-RU" dirty="0"/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562174" y="3140968"/>
            <a:ext cx="1849585" cy="360040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о дивизионам</a:t>
            </a:r>
            <a:endParaRPr lang="ru-RU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2174" y="3789040"/>
            <a:ext cx="2886075" cy="1847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4346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 txBox="1">
            <a:spLocks/>
          </p:cNvSpPr>
          <p:nvPr/>
        </p:nvSpPr>
        <p:spPr>
          <a:xfrm>
            <a:off x="457200" y="548680"/>
            <a:ext cx="8229600" cy="576064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218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dirty="0" smtClean="0">
                <a:solidFill>
                  <a:srgbClr val="0070C0"/>
                </a:solidFill>
              </a:rPr>
              <a:t>Приоритетность ввода</a:t>
            </a:r>
            <a:endParaRPr lang="ru-RU" sz="2400" b="1" dirty="0">
              <a:solidFill>
                <a:srgbClr val="0070C0"/>
              </a:solidFill>
            </a:endParaRPr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3" y="2060848"/>
            <a:ext cx="8334375" cy="349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384740" y="1151867"/>
            <a:ext cx="74276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Позиция в приоритетности ввода: между пюре 100г яблоко-груша-творог и кисель 200 мл из малины</a:t>
            </a:r>
            <a:endParaRPr lang="ru-RU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23528" y="4365104"/>
            <a:ext cx="8496944" cy="288032"/>
          </a:xfrm>
          <a:prstGeom prst="roundRect">
            <a:avLst/>
          </a:prstGeom>
          <a:noFill/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85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4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54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2881" r="-9108" b="22052"/>
          <a:stretch/>
        </p:blipFill>
        <p:spPr>
          <a:xfrm>
            <a:off x="2" y="0"/>
            <a:ext cx="5651037" cy="6859858"/>
          </a:xfrm>
          <a:custGeom>
            <a:avLst/>
            <a:gdLst>
              <a:gd name="connsiteX0" fmla="*/ 0 w 4419600"/>
              <a:gd name="connsiteY0" fmla="*/ 0 h 5162550"/>
              <a:gd name="connsiteX1" fmla="*/ 4419600 w 4419600"/>
              <a:gd name="connsiteY1" fmla="*/ 0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0 h 5162550"/>
              <a:gd name="connsiteX1" fmla="*/ 2743200 w 4419600"/>
              <a:gd name="connsiteY1" fmla="*/ 8965 h 5162550"/>
              <a:gd name="connsiteX2" fmla="*/ 4419600 w 4419600"/>
              <a:gd name="connsiteY2" fmla="*/ 5162550 h 5162550"/>
              <a:gd name="connsiteX3" fmla="*/ 0 w 4419600"/>
              <a:gd name="connsiteY3" fmla="*/ 5162550 h 5162550"/>
              <a:gd name="connsiteX4" fmla="*/ 0 w 4419600"/>
              <a:gd name="connsiteY4" fmla="*/ 0 h 5162550"/>
              <a:gd name="connsiteX0" fmla="*/ 0 w 4419600"/>
              <a:gd name="connsiteY0" fmla="*/ 8964 h 5171514"/>
              <a:gd name="connsiteX1" fmla="*/ 2743200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  <a:gd name="connsiteX0" fmla="*/ 0 w 4419600"/>
              <a:gd name="connsiteY0" fmla="*/ 8964 h 5171514"/>
              <a:gd name="connsiteX1" fmla="*/ 2734235 w 4419600"/>
              <a:gd name="connsiteY1" fmla="*/ 0 h 5171514"/>
              <a:gd name="connsiteX2" fmla="*/ 4419600 w 4419600"/>
              <a:gd name="connsiteY2" fmla="*/ 5171514 h 5171514"/>
              <a:gd name="connsiteX3" fmla="*/ 0 w 4419600"/>
              <a:gd name="connsiteY3" fmla="*/ 5171514 h 5171514"/>
              <a:gd name="connsiteX4" fmla="*/ 0 w 4419600"/>
              <a:gd name="connsiteY4" fmla="*/ 8964 h 5171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19600" h="5171514">
                <a:moveTo>
                  <a:pt x="0" y="8964"/>
                </a:moveTo>
                <a:lnTo>
                  <a:pt x="2734235" y="0"/>
                </a:lnTo>
                <a:lnTo>
                  <a:pt x="4419600" y="5171514"/>
                </a:lnTo>
                <a:lnTo>
                  <a:pt x="0" y="5171514"/>
                </a:lnTo>
                <a:lnTo>
                  <a:pt x="0" y="8964"/>
                </a:lnTo>
                <a:close/>
              </a:path>
            </a:pathLst>
          </a:custGeom>
          <a:effectLst/>
        </p:spPr>
      </p:pic>
      <p:sp>
        <p:nvSpPr>
          <p:cNvPr id="3" name="TextBox 2"/>
          <p:cNvSpPr txBox="1"/>
          <p:nvPr/>
        </p:nvSpPr>
        <p:spPr>
          <a:xfrm>
            <a:off x="689675" y="2852938"/>
            <a:ext cx="8506947" cy="707886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algn="ctr"/>
            <a:r>
              <a:rPr lang="ru-RU" sz="4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Успешных  Вам продаж</a:t>
            </a:r>
            <a:r>
              <a:rPr lang="ru-RU" sz="40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!</a:t>
            </a:r>
            <a:r>
              <a:rPr lang="en-US" sz="4000" b="1" dirty="0" smtClean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!</a:t>
            </a:r>
            <a:endParaRPr lang="ru-RU" sz="4000" b="1" dirty="0">
              <a:solidFill>
                <a:srgbClr val="0070C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7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35" y="2008035"/>
            <a:ext cx="2469822" cy="2397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008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891" y="2197701"/>
            <a:ext cx="4030757" cy="1303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8139" y="491910"/>
            <a:ext cx="8229600" cy="576064"/>
          </a:xfrm>
        </p:spPr>
        <p:txBody>
          <a:bodyPr>
            <a:noAutofit/>
          </a:bodyPr>
          <a:lstStyle/>
          <a:p>
            <a:pPr algn="l"/>
            <a:r>
              <a:rPr lang="ru-RU" sz="2000" b="1" dirty="0">
                <a:solidFill>
                  <a:srgbClr val="0070C0"/>
                </a:solidFill>
              </a:rPr>
              <a:t>Рынок овощных пюре высоко концентрирован 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79513" y="1528747"/>
            <a:ext cx="4255706" cy="2368902"/>
          </a:xfrm>
          <a:prstGeom prst="roundRect">
            <a:avLst>
              <a:gd name="adj" fmla="val 10458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ru-RU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167" y="2554652"/>
            <a:ext cx="337505" cy="298284"/>
          </a:xfrm>
          <a:prstGeom prst="rect">
            <a:avLst/>
          </a:prstGeom>
        </p:spPr>
      </p:pic>
      <p:pic>
        <p:nvPicPr>
          <p:cNvPr id="19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12451" y="2197701"/>
            <a:ext cx="3864006" cy="1303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10" descr="http://toplogos.ru/images/logo-babushkino-lukoshk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0644" y="2780928"/>
            <a:ext cx="359028" cy="26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3068960"/>
            <a:ext cx="392111" cy="189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Скругленный прямоугольник 11"/>
          <p:cNvSpPr/>
          <p:nvPr/>
        </p:nvSpPr>
        <p:spPr>
          <a:xfrm>
            <a:off x="323528" y="1412776"/>
            <a:ext cx="3949485" cy="331635"/>
          </a:xfrm>
          <a:prstGeom prst="roundRect">
            <a:avLst/>
          </a:prstGeom>
          <a:solidFill>
            <a:srgbClr val="0070C0"/>
          </a:solidFill>
        </p:spPr>
        <p:txBody>
          <a:bodyPr wrap="square" lIns="83470" tIns="41736" rIns="83470" bIns="41736" anchor="ctr">
            <a:spAutoFit/>
          </a:bodyPr>
          <a:lstStyle/>
          <a:p>
            <a:pPr algn="ctr" defTabSz="417377"/>
            <a:r>
              <a:rPr lang="ru-RU" sz="1400" b="1" dirty="0">
                <a:solidFill>
                  <a:prstClr val="white"/>
                </a:solidFill>
              </a:rPr>
              <a:t>Рынок овощных пюре, доля по стоимости,%</a:t>
            </a:r>
            <a:endParaRPr lang="ru-RU" sz="1200" dirty="0">
              <a:solidFill>
                <a:prstClr val="white"/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1640" y="3284984"/>
            <a:ext cx="256409" cy="221042"/>
          </a:xfrm>
          <a:prstGeom prst="rect">
            <a:avLst/>
          </a:prstGeom>
        </p:spPr>
      </p:pic>
      <p:sp>
        <p:nvSpPr>
          <p:cNvPr id="14" name="Скругленный прямоугольник 13"/>
          <p:cNvSpPr/>
          <p:nvPr/>
        </p:nvSpPr>
        <p:spPr>
          <a:xfrm>
            <a:off x="242255" y="4314313"/>
            <a:ext cx="8712968" cy="1490951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endParaRPr lang="ru-RU" sz="1600" dirty="0" smtClean="0">
              <a:solidFill>
                <a:schemeClr val="tx1"/>
              </a:solidFill>
            </a:endParaRPr>
          </a:p>
          <a:p>
            <a:pPr marL="285694" indent="-28569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>
                <a:solidFill>
                  <a:schemeClr val="tx1"/>
                </a:solidFill>
              </a:rPr>
              <a:t>Овощи</a:t>
            </a:r>
            <a:r>
              <a:rPr lang="ru-RU" sz="1600" dirty="0">
                <a:solidFill>
                  <a:schemeClr val="tx1"/>
                </a:solidFill>
              </a:rPr>
              <a:t> – важная категория, с которой начинается прикорм</a:t>
            </a:r>
          </a:p>
          <a:p>
            <a:pPr marL="285694" indent="-28569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b="1" dirty="0" err="1">
                <a:solidFill>
                  <a:schemeClr val="tx1"/>
                </a:solidFill>
              </a:rPr>
              <a:t>ФрутоНяня</a:t>
            </a:r>
            <a:r>
              <a:rPr lang="ru-RU" sz="1600" b="1" dirty="0">
                <a:solidFill>
                  <a:schemeClr val="tx1"/>
                </a:solidFill>
              </a:rPr>
              <a:t> - № 1 </a:t>
            </a:r>
            <a:r>
              <a:rPr lang="ru-RU" sz="1600" dirty="0">
                <a:solidFill>
                  <a:schemeClr val="tx1"/>
                </a:solidFill>
              </a:rPr>
              <a:t>по стоимости</a:t>
            </a:r>
            <a:r>
              <a:rPr lang="ru-RU" sz="1600" b="1" dirty="0">
                <a:solidFill>
                  <a:schemeClr val="tx1"/>
                </a:solidFill>
              </a:rPr>
              <a:t> </a:t>
            </a:r>
            <a:r>
              <a:rPr lang="ru-RU" sz="1600" dirty="0" smtClean="0">
                <a:solidFill>
                  <a:schemeClr val="tx1"/>
                </a:solidFill>
              </a:rPr>
              <a:t>по </a:t>
            </a:r>
            <a:r>
              <a:rPr lang="ru-RU" sz="1600" dirty="0">
                <a:solidFill>
                  <a:schemeClr val="tx1"/>
                </a:solidFill>
              </a:rPr>
              <a:t>объему</a:t>
            </a:r>
            <a:r>
              <a:rPr lang="en-US" sz="1600" dirty="0">
                <a:solidFill>
                  <a:schemeClr val="tx1"/>
                </a:solidFill>
              </a:rPr>
              <a:t> </a:t>
            </a:r>
            <a:r>
              <a:rPr lang="ru-RU" sz="1600" b="1" dirty="0">
                <a:solidFill>
                  <a:schemeClr val="tx1"/>
                </a:solidFill>
              </a:rPr>
              <a:t>и демонстрирует наибольший прирост </a:t>
            </a:r>
            <a:r>
              <a:rPr lang="ru-RU" sz="1600" dirty="0">
                <a:solidFill>
                  <a:schemeClr val="tx1"/>
                </a:solidFill>
              </a:rPr>
              <a:t>в категории</a:t>
            </a:r>
          </a:p>
          <a:p>
            <a:pPr marL="285694" indent="-285694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600" dirty="0">
                <a:solidFill>
                  <a:schemeClr val="tx1"/>
                </a:solidFill>
              </a:rPr>
              <a:t>Как лидер рынка </a:t>
            </a:r>
            <a:r>
              <a:rPr lang="ru-RU" sz="1600" dirty="0" err="1">
                <a:solidFill>
                  <a:schemeClr val="tx1"/>
                </a:solidFill>
              </a:rPr>
              <a:t>ФрутоНяня</a:t>
            </a:r>
            <a:r>
              <a:rPr lang="ru-RU" sz="1600" dirty="0">
                <a:solidFill>
                  <a:schemeClr val="tx1"/>
                </a:solidFill>
              </a:rPr>
              <a:t> намерена развивать категорию овощных пюре</a:t>
            </a:r>
          </a:p>
          <a:p>
            <a:endParaRPr lang="ru-RU" sz="1600" dirty="0" smtClean="0">
              <a:solidFill>
                <a:schemeClr val="tx1"/>
              </a:solidFill>
            </a:endParaRPr>
          </a:p>
          <a:p>
            <a:pPr marL="285694" indent="-285694">
              <a:buFont typeface="Arial" panose="020B0604020202020204" pitchFamily="34" charset="0"/>
              <a:buChar char="•"/>
            </a:pP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-15602" y="6589060"/>
            <a:ext cx="4857670" cy="259765"/>
          </a:xfrm>
          <a:prstGeom prst="rect">
            <a:avLst/>
          </a:prstGeom>
          <a:noFill/>
        </p:spPr>
        <p:txBody>
          <a:bodyPr wrap="square" lIns="89606" tIns="44793" rIns="89606" bIns="44793" rtlCol="0">
            <a:spAutoFit/>
          </a:bodyPr>
          <a:lstStyle/>
          <a:p>
            <a:pPr defTabSz="960077"/>
            <a:r>
              <a:rPr lang="ru-RU" sz="1100" dirty="0">
                <a:solidFill>
                  <a:prstClr val="black"/>
                </a:solidFill>
              </a:rPr>
              <a:t>По данным © ООО «ЭЙ СИ НИЛЬСЕН» </a:t>
            </a:r>
            <a:r>
              <a:rPr lang="en-US" sz="1100" dirty="0" smtClean="0">
                <a:solidFill>
                  <a:prstClr val="black"/>
                </a:solidFill>
              </a:rPr>
              <a:t>Aug’</a:t>
            </a:r>
            <a:r>
              <a:rPr lang="ru-RU" sz="1100" dirty="0" smtClean="0">
                <a:solidFill>
                  <a:prstClr val="black"/>
                </a:solidFill>
              </a:rPr>
              <a:t> 15-1</a:t>
            </a:r>
            <a:r>
              <a:rPr lang="en-US" sz="1100" dirty="0">
                <a:solidFill>
                  <a:prstClr val="black"/>
                </a:solidFill>
              </a:rPr>
              <a:t>6</a:t>
            </a:r>
            <a:endParaRPr lang="ru-RU" sz="1100" dirty="0">
              <a:solidFill>
                <a:prstClr val="black"/>
              </a:solidFill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598739" y="1528747"/>
            <a:ext cx="4327667" cy="2368902"/>
          </a:xfrm>
          <a:prstGeom prst="roundRect">
            <a:avLst>
              <a:gd name="adj" fmla="val 10458"/>
            </a:avLst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ru-RU"/>
          </a:p>
        </p:txBody>
      </p:sp>
      <p:sp>
        <p:nvSpPr>
          <p:cNvPr id="36" name="Freeform 29"/>
          <p:cNvSpPr>
            <a:spLocks/>
          </p:cNvSpPr>
          <p:nvPr/>
        </p:nvSpPr>
        <p:spPr bwMode="gray">
          <a:xfrm rot="21211154">
            <a:off x="8043345" y="2595293"/>
            <a:ext cx="579453" cy="29790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0">
            <a:solidFill>
              <a:srgbClr val="00B05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03" tIns="91403" rIns="91403" bIns="91403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036"/>
            <a:endParaRPr lang="ru-RU">
              <a:solidFill>
                <a:prstClr val="black"/>
              </a:solidFill>
            </a:endParaRPr>
          </a:p>
        </p:txBody>
      </p:sp>
      <p:sp>
        <p:nvSpPr>
          <p:cNvPr id="37" name="Freeform 29"/>
          <p:cNvSpPr>
            <a:spLocks/>
          </p:cNvSpPr>
          <p:nvPr/>
        </p:nvSpPr>
        <p:spPr bwMode="gray">
          <a:xfrm rot="21211154">
            <a:off x="3722865" y="2586402"/>
            <a:ext cx="579453" cy="29790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0">
            <a:solidFill>
              <a:srgbClr val="00B05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03" tIns="91403" rIns="91403" bIns="91403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036"/>
            <a:endParaRPr lang="ru-RU">
              <a:solidFill>
                <a:prstClr val="black"/>
              </a:solidFill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6997" y="2492896"/>
            <a:ext cx="337505" cy="298284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5026886" y="1367587"/>
            <a:ext cx="3361538" cy="331635"/>
          </a:xfrm>
          <a:prstGeom prst="roundRect">
            <a:avLst/>
          </a:prstGeom>
          <a:solidFill>
            <a:srgbClr val="0070C0"/>
          </a:solidFill>
        </p:spPr>
        <p:txBody>
          <a:bodyPr wrap="square" lIns="83470" tIns="41736" rIns="83470" bIns="41736" anchor="ctr">
            <a:spAutoFit/>
          </a:bodyPr>
          <a:lstStyle/>
          <a:p>
            <a:pPr algn="ctr" defTabSz="417377"/>
            <a:r>
              <a:rPr lang="ru-RU" sz="1400" b="1" dirty="0">
                <a:solidFill>
                  <a:prstClr val="white"/>
                </a:solidFill>
              </a:rPr>
              <a:t>Рынок овощных пюре, доля в объеме,%</a:t>
            </a:r>
            <a:endParaRPr lang="ru-RU" sz="1200" dirty="0">
              <a:solidFill>
                <a:prstClr val="white"/>
              </a:solidFill>
            </a:endParaRPr>
          </a:p>
        </p:txBody>
      </p:sp>
      <p:pic>
        <p:nvPicPr>
          <p:cNvPr id="39" name="Picture 10" descr="http://toplogos.ru/images/logo-babushkino-lukoshko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3795" y="2780928"/>
            <a:ext cx="359028" cy="262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9696" y="3095436"/>
            <a:ext cx="392111" cy="1895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55751" y="3279966"/>
            <a:ext cx="256409" cy="221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62692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395536" y="692696"/>
            <a:ext cx="8306534" cy="620437"/>
          </a:xfrm>
          <a:prstGeom prst="rect">
            <a:avLst/>
          </a:prstGeom>
          <a:noFill/>
        </p:spPr>
        <p:txBody>
          <a:bodyPr wrap="square" lIns="89500" tIns="44741" rIns="89500" bIns="44741" rtlCol="0">
            <a:spAutoFit/>
          </a:bodyPr>
          <a:lstStyle/>
          <a:p>
            <a:pPr defTabSz="895037">
              <a:lnSpc>
                <a:spcPts val="1998"/>
              </a:lnSpc>
            </a:pPr>
            <a:r>
              <a:rPr lang="ru-RU" sz="2000" b="1" dirty="0">
                <a:solidFill>
                  <a:srgbClr val="0070C0"/>
                </a:solidFill>
              </a:rPr>
              <a:t>Овощи – 1й шаг в прикорме и возможность подключить маму к бренду ФрутоНяня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98860" y="2087496"/>
            <a:ext cx="3113453" cy="226796"/>
          </a:xfrm>
          <a:prstGeom prst="rect">
            <a:avLst/>
          </a:prstGeom>
          <a:noFill/>
        </p:spPr>
        <p:txBody>
          <a:bodyPr wrap="square" lIns="83535" tIns="41763" rIns="83535" bIns="41763" rtlCol="0">
            <a:spAutoFit/>
          </a:bodyPr>
          <a:lstStyle/>
          <a:p>
            <a:r>
              <a:rPr lang="ru-RU" sz="900" i="1" dirty="0"/>
              <a:t>Источник: опрос 1000 педиатров, август 2014</a:t>
            </a:r>
          </a:p>
        </p:txBody>
      </p:sp>
      <p:grpSp>
        <p:nvGrpSpPr>
          <p:cNvPr id="10" name="Группа 9"/>
          <p:cNvGrpSpPr/>
          <p:nvPr/>
        </p:nvGrpSpPr>
        <p:grpSpPr>
          <a:xfrm>
            <a:off x="3773442" y="1721497"/>
            <a:ext cx="3654922" cy="745517"/>
            <a:chOff x="5584181" y="1386182"/>
            <a:chExt cx="3888431" cy="809369"/>
          </a:xfrm>
        </p:grpSpPr>
        <p:pic>
          <p:nvPicPr>
            <p:cNvPr id="8" name="Рисунок 7"/>
            <p:cNvPicPr>
              <a:picLocks noChangeAspect="1"/>
            </p:cNvPicPr>
            <p:nvPr/>
          </p:nvPicPr>
          <p:blipFill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584181" y="1711078"/>
              <a:ext cx="3888431" cy="344248"/>
            </a:xfrm>
            <a:prstGeom prst="rect">
              <a:avLst/>
            </a:prstGeom>
          </p:spPr>
        </p:pic>
        <p:sp>
          <p:nvSpPr>
            <p:cNvPr id="9" name="Freeform 29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 rot="663999">
              <a:off x="5791225" y="1386182"/>
              <a:ext cx="984638" cy="809369"/>
            </a:xfrm>
            <a:custGeom>
              <a:avLst/>
              <a:gdLst>
                <a:gd name="T0" fmla="*/ 2147483647 w 3884"/>
                <a:gd name="T1" fmla="*/ 2147483647 h 1600"/>
                <a:gd name="T2" fmla="*/ 2147483647 w 3884"/>
                <a:gd name="T3" fmla="*/ 2147483647 h 1600"/>
                <a:gd name="T4" fmla="*/ 2147483647 w 3884"/>
                <a:gd name="T5" fmla="*/ 2147483647 h 1600"/>
                <a:gd name="T6" fmla="*/ 2147483647 w 3884"/>
                <a:gd name="T7" fmla="*/ 2147483647 h 1600"/>
                <a:gd name="T8" fmla="*/ 2147483647 w 3884"/>
                <a:gd name="T9" fmla="*/ 2147483647 h 1600"/>
                <a:gd name="T10" fmla="*/ 2147483647 w 3884"/>
                <a:gd name="T11" fmla="*/ 2147483647 h 1600"/>
                <a:gd name="T12" fmla="*/ 0 w 3884"/>
                <a:gd name="T13" fmla="*/ 2147483647 h 1600"/>
                <a:gd name="T14" fmla="*/ 2147483647 w 3884"/>
                <a:gd name="T15" fmla="*/ 2147483647 h 1600"/>
                <a:gd name="T16" fmla="*/ 2147483647 w 3884"/>
                <a:gd name="T17" fmla="*/ 2147483647 h 1600"/>
                <a:gd name="T18" fmla="*/ 2147483647 w 3884"/>
                <a:gd name="T19" fmla="*/ 2147483647 h 1600"/>
                <a:gd name="T20" fmla="*/ 2147483647 w 3884"/>
                <a:gd name="T21" fmla="*/ 2147483647 h 1600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884"/>
                <a:gd name="T34" fmla="*/ 0 h 1600"/>
                <a:gd name="T35" fmla="*/ 3884 w 3884"/>
                <a:gd name="T36" fmla="*/ 1600 h 1600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884" h="1600">
                  <a:moveTo>
                    <a:pt x="297" y="1346"/>
                  </a:moveTo>
                  <a:cubicBezTo>
                    <a:pt x="918" y="1523"/>
                    <a:pt x="1726" y="1533"/>
                    <a:pt x="2310" y="1448"/>
                  </a:cubicBezTo>
                  <a:cubicBezTo>
                    <a:pt x="3125" y="1334"/>
                    <a:pt x="3798" y="1192"/>
                    <a:pt x="3810" y="884"/>
                  </a:cubicBezTo>
                  <a:cubicBezTo>
                    <a:pt x="3822" y="576"/>
                    <a:pt x="3114" y="204"/>
                    <a:pt x="1945" y="137"/>
                  </a:cubicBezTo>
                  <a:cubicBezTo>
                    <a:pt x="645" y="63"/>
                    <a:pt x="74" y="564"/>
                    <a:pt x="74" y="724"/>
                  </a:cubicBezTo>
                  <a:cubicBezTo>
                    <a:pt x="74" y="884"/>
                    <a:pt x="394" y="1032"/>
                    <a:pt x="781" y="1072"/>
                  </a:cubicBezTo>
                  <a:cubicBezTo>
                    <a:pt x="280" y="1135"/>
                    <a:pt x="0" y="912"/>
                    <a:pt x="0" y="724"/>
                  </a:cubicBezTo>
                  <a:cubicBezTo>
                    <a:pt x="0" y="536"/>
                    <a:pt x="473" y="0"/>
                    <a:pt x="1951" y="68"/>
                  </a:cubicBezTo>
                  <a:cubicBezTo>
                    <a:pt x="2863" y="110"/>
                    <a:pt x="3884" y="433"/>
                    <a:pt x="3878" y="884"/>
                  </a:cubicBezTo>
                  <a:cubicBezTo>
                    <a:pt x="3872" y="1335"/>
                    <a:pt x="2873" y="1446"/>
                    <a:pt x="2276" y="1523"/>
                  </a:cubicBezTo>
                  <a:cubicBezTo>
                    <a:pt x="1679" y="1600"/>
                    <a:pt x="553" y="1580"/>
                    <a:pt x="297" y="1346"/>
                  </a:cubicBezTo>
                  <a:close/>
                </a:path>
              </a:pathLst>
            </a:custGeom>
            <a:solidFill>
              <a:srgbClr val="00CC00"/>
            </a:solidFill>
            <a:ln>
              <a:solidFill>
                <a:srgbClr val="00CC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tIns="91440" bIns="91440" anchor="ctr"/>
            <a:lstStyle/>
            <a:p>
              <a:endParaRPr lang="ru-RU" dirty="0"/>
            </a:p>
          </p:txBody>
        </p:sp>
      </p:grpSp>
      <p:sp>
        <p:nvSpPr>
          <p:cNvPr id="11" name="Скругленный прямоугольник 10"/>
          <p:cNvSpPr/>
          <p:nvPr/>
        </p:nvSpPr>
        <p:spPr>
          <a:xfrm>
            <a:off x="240239" y="1332750"/>
            <a:ext cx="7309846" cy="1153928"/>
          </a:xfrm>
          <a:prstGeom prst="roundRect">
            <a:avLst>
              <a:gd name="adj" fmla="val 10098"/>
            </a:avLst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00" tIns="44741" rIns="89500" bIns="44741" rtlCol="0" anchor="ctr"/>
          <a:lstStyle/>
          <a:p>
            <a:pPr algn="ctr" defTabSz="895037"/>
            <a:endParaRPr lang="ru-RU">
              <a:solidFill>
                <a:prstClr val="white"/>
              </a:solidFill>
            </a:endParaRPr>
          </a:p>
        </p:txBody>
      </p:sp>
      <p:pic>
        <p:nvPicPr>
          <p:cNvPr id="12" name="Picture 2" descr="http://flysof.ru/images/41AEEbQdbV358eWda39Jam1djNbAja6dzxOiHuYdipuaJ1ddajhjY3HdjNT7J5Id7Jab=J5dbAJY8Hudam4f0kId2Gt9m5Idzv56Q3QdhzsMvISdUbHsNtLdfQo6W5ndtu0c9BMrs.jpg">
            <a:hlinkClick r:id="rId5"/>
          </p:cNvPr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645253" y="1092402"/>
            <a:ext cx="1292209" cy="1480646"/>
          </a:xfrm>
          <a:prstGeom prst="roundRect">
            <a:avLst>
              <a:gd name="adj" fmla="val 11646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483690" y="1419039"/>
            <a:ext cx="6402672" cy="609246"/>
          </a:xfrm>
          <a:prstGeom prst="rect">
            <a:avLst/>
          </a:prstGeom>
        </p:spPr>
        <p:txBody>
          <a:bodyPr wrap="square" lIns="83535" tIns="41763" rIns="83535" bIns="41763">
            <a:spAutoFit/>
          </a:bodyPr>
          <a:lstStyle/>
          <a:p>
            <a:pPr marL="260999" indent="-260999">
              <a:buFont typeface="Arial" panose="020B0604020202020204" pitchFamily="34" charset="0"/>
              <a:buChar char="•"/>
            </a:pPr>
            <a:r>
              <a:rPr lang="ru-RU" sz="1700" dirty="0"/>
              <a:t>«Большинство педиатров рекомендуют начинать прикорм с  </a:t>
            </a:r>
            <a:r>
              <a:rPr lang="ru-RU" sz="1700" b="1" dirty="0"/>
              <a:t>овощных</a:t>
            </a:r>
            <a:r>
              <a:rPr lang="ru-RU" sz="1700" dirty="0"/>
              <a:t> пюре - </a:t>
            </a:r>
            <a:r>
              <a:rPr lang="ru-RU" sz="1700" b="1" dirty="0"/>
              <a:t>64%</a:t>
            </a:r>
            <a:endParaRPr lang="ru-RU" sz="1000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841960" y="2658777"/>
            <a:ext cx="7129683" cy="924180"/>
          </a:xfrm>
          <a:prstGeom prst="roundRect">
            <a:avLst>
              <a:gd name="adj" fmla="val 11545"/>
            </a:avLst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00" tIns="44741" rIns="89500" bIns="44741" rtlCol="0" anchor="ctr"/>
          <a:lstStyle/>
          <a:p>
            <a:pPr algn="ctr" defTabSz="895037"/>
            <a:endParaRPr lang="ru-RU">
              <a:solidFill>
                <a:prstClr val="white"/>
              </a:solidFill>
            </a:endParaRPr>
          </a:p>
        </p:txBody>
      </p:sp>
      <p:pic>
        <p:nvPicPr>
          <p:cNvPr id="13313" name="Picture 1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1831" y="2589079"/>
            <a:ext cx="1367649" cy="1050740"/>
          </a:xfrm>
          <a:prstGeom prst="roundRect">
            <a:avLst>
              <a:gd name="adj" fmla="val 11646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2054058" y="2726765"/>
            <a:ext cx="6863345" cy="607570"/>
          </a:xfrm>
          <a:prstGeom prst="rect">
            <a:avLst/>
          </a:prstGeom>
        </p:spPr>
        <p:txBody>
          <a:bodyPr wrap="square" lIns="83535" tIns="41763" rIns="83535" bIns="41763">
            <a:spAutoFit/>
          </a:bodyPr>
          <a:lstStyle/>
          <a:p>
            <a:pPr marL="260999" indent="-260999">
              <a:buFont typeface="Arial" panose="020B0604020202020204" pitchFamily="34" charset="0"/>
              <a:buChar char="•"/>
            </a:pPr>
            <a:r>
              <a:rPr lang="ru-RU" sz="1700" dirty="0"/>
              <a:t>Большинство мам начинают прикорм с  </a:t>
            </a:r>
            <a:r>
              <a:rPr lang="ru-RU" sz="1700" b="1" dirty="0"/>
              <a:t>овощных</a:t>
            </a:r>
            <a:r>
              <a:rPr lang="ru-RU" sz="1700" dirty="0"/>
              <a:t> пюре - </a:t>
            </a:r>
            <a:r>
              <a:rPr lang="ru-RU" sz="1700" b="1" dirty="0"/>
              <a:t>31%</a:t>
            </a:r>
          </a:p>
          <a:p>
            <a:pPr marL="260999" indent="-260999">
              <a:buFont typeface="Arial" panose="020B0604020202020204" pitchFamily="34" charset="0"/>
              <a:buChar char="•"/>
            </a:pPr>
            <a:r>
              <a:rPr lang="ru-RU" sz="1700" b="1" dirty="0"/>
              <a:t>Продолжительность прикорма </a:t>
            </a:r>
            <a:r>
              <a:rPr lang="ru-RU" sz="1700" dirty="0"/>
              <a:t>овощами – </a:t>
            </a:r>
            <a:r>
              <a:rPr lang="ru-RU" sz="1700" b="1" dirty="0"/>
              <a:t>2 года </a:t>
            </a:r>
            <a:r>
              <a:rPr lang="ru-RU" sz="1700" dirty="0"/>
              <a:t>и больше</a:t>
            </a:r>
            <a:endParaRPr lang="ru-RU" sz="1000" dirty="0"/>
          </a:p>
        </p:txBody>
      </p:sp>
      <p:sp>
        <p:nvSpPr>
          <p:cNvPr id="16" name="TextBox 15"/>
          <p:cNvSpPr txBox="1"/>
          <p:nvPr/>
        </p:nvSpPr>
        <p:spPr>
          <a:xfrm>
            <a:off x="2170805" y="3323762"/>
            <a:ext cx="2775034" cy="226796"/>
          </a:xfrm>
          <a:prstGeom prst="rect">
            <a:avLst/>
          </a:prstGeom>
          <a:noFill/>
        </p:spPr>
        <p:txBody>
          <a:bodyPr wrap="square" lIns="83535" tIns="41763" rIns="83535" bIns="41763" rtlCol="0">
            <a:spAutoFit/>
          </a:bodyPr>
          <a:lstStyle/>
          <a:p>
            <a:r>
              <a:rPr lang="ru-RU" sz="900" i="1" dirty="0"/>
              <a:t>Источник: опрос 1036 мам, июль-август 2014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53888" y="3810237"/>
            <a:ext cx="8717557" cy="1443878"/>
          </a:xfrm>
          <a:prstGeom prst="roundRect">
            <a:avLst>
              <a:gd name="adj" fmla="val 11545"/>
            </a:avLst>
          </a:prstGeom>
          <a:noFill/>
          <a:ln>
            <a:solidFill>
              <a:srgbClr val="CC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00" tIns="44741" rIns="89500" bIns="44741" rtlCol="0" anchor="ctr"/>
          <a:lstStyle/>
          <a:p>
            <a:pPr algn="ctr" defTabSz="895037"/>
            <a:endParaRPr lang="ru-RU">
              <a:solidFill>
                <a:prstClr val="white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02701" y="3917390"/>
            <a:ext cx="7888597" cy="609246"/>
          </a:xfrm>
          <a:prstGeom prst="rect">
            <a:avLst/>
          </a:prstGeom>
        </p:spPr>
        <p:txBody>
          <a:bodyPr wrap="square" lIns="83535" tIns="41763" rIns="83535" bIns="41763">
            <a:spAutoFit/>
          </a:bodyPr>
          <a:lstStyle/>
          <a:p>
            <a:pPr marL="260999" indent="-260999">
              <a:buFont typeface="Arial" panose="020B0604020202020204" pitchFamily="34" charset="0"/>
              <a:buChar char="•"/>
            </a:pPr>
            <a:r>
              <a:rPr lang="ru-RU" sz="1700" b="1" dirty="0"/>
              <a:t>Начав прикорм овощами ФрутоНяня мама чаще всего остаётся                в бренде ФрутоНяня </a:t>
            </a:r>
            <a:r>
              <a:rPr lang="ru-RU" sz="1700" dirty="0"/>
              <a:t>расширяя рацион прикорма </a:t>
            </a:r>
            <a:r>
              <a:rPr lang="ru-RU" sz="1700" b="1" dirty="0"/>
              <a:t>фруктами и мясом</a:t>
            </a:r>
            <a:endParaRPr lang="ru-RU" sz="1000" b="1" dirty="0"/>
          </a:p>
        </p:txBody>
      </p:sp>
      <p:sp>
        <p:nvSpPr>
          <p:cNvPr id="19" name="TextBox 18"/>
          <p:cNvSpPr txBox="1"/>
          <p:nvPr/>
        </p:nvSpPr>
        <p:spPr>
          <a:xfrm>
            <a:off x="535452" y="4752236"/>
            <a:ext cx="1938880" cy="226796"/>
          </a:xfrm>
          <a:prstGeom prst="rect">
            <a:avLst/>
          </a:prstGeom>
          <a:noFill/>
        </p:spPr>
        <p:txBody>
          <a:bodyPr wrap="square" lIns="83535" tIns="41763" rIns="83535" bIns="41763" rtlCol="0">
            <a:spAutoFit/>
          </a:bodyPr>
          <a:lstStyle/>
          <a:p>
            <a:r>
              <a:rPr lang="ru-RU" sz="900" i="1" dirty="0"/>
              <a:t>Источник: </a:t>
            </a:r>
            <a:r>
              <a:rPr lang="en-US" sz="900" i="1" dirty="0"/>
              <a:t>IPSOS</a:t>
            </a:r>
            <a:endParaRPr lang="ru-RU" sz="900" i="1" dirty="0"/>
          </a:p>
        </p:txBody>
      </p:sp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7770" y="4435181"/>
            <a:ext cx="1366619" cy="823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91273" y="4526768"/>
            <a:ext cx="1662808" cy="698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7" name="Группа 26"/>
          <p:cNvGrpSpPr/>
          <p:nvPr/>
        </p:nvGrpSpPr>
        <p:grpSpPr>
          <a:xfrm>
            <a:off x="6817644" y="4574462"/>
            <a:ext cx="1850941" cy="647645"/>
            <a:chOff x="5542918" y="3925642"/>
            <a:chExt cx="3201551" cy="1143134"/>
          </a:xfrm>
        </p:grpSpPr>
        <p:pic>
          <p:nvPicPr>
            <p:cNvPr id="28" name="Picture 4"/>
            <p:cNvPicPr>
              <a:picLocks noChangeAspect="1" noChangeArrowheads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542918" y="3931846"/>
              <a:ext cx="1124050" cy="11369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9" name="Picture 7"/>
            <p:cNvPicPr>
              <a:picLocks noChangeAspect="1" noChangeArrowheads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48394" y="3955270"/>
              <a:ext cx="1037496" cy="107852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0" name="Picture 9"/>
            <p:cNvPicPr>
              <a:picLocks noChangeAspect="1" noChangeArrowheads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37869" y="3925642"/>
              <a:ext cx="1106600" cy="11056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31" name="Скругленный прямоугольник 30"/>
          <p:cNvSpPr/>
          <p:nvPr/>
        </p:nvSpPr>
        <p:spPr>
          <a:xfrm>
            <a:off x="253888" y="5494953"/>
            <a:ext cx="6089959" cy="1149755"/>
          </a:xfrm>
          <a:prstGeom prst="roundRect">
            <a:avLst>
              <a:gd name="adj" fmla="val 11545"/>
            </a:avLst>
          </a:prstGeom>
          <a:noFill/>
          <a:ln>
            <a:solidFill>
              <a:srgbClr val="CC006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9500" tIns="44741" rIns="89500" bIns="44741" rtlCol="0" anchor="ctr"/>
          <a:lstStyle/>
          <a:p>
            <a:pPr algn="ctr" defTabSz="895037"/>
            <a:endParaRPr lang="ru-RU">
              <a:solidFill>
                <a:prstClr val="white"/>
              </a:solidFill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08121" y="5617280"/>
            <a:ext cx="6043673" cy="963189"/>
          </a:xfrm>
          <a:prstGeom prst="rect">
            <a:avLst/>
          </a:prstGeom>
        </p:spPr>
        <p:txBody>
          <a:bodyPr wrap="square" lIns="83535" tIns="41763" rIns="83535" bIns="41763">
            <a:spAutoFit/>
          </a:bodyPr>
          <a:lstStyle/>
          <a:p>
            <a:pPr marL="260999" indent="-260999">
              <a:buFont typeface="Arial" panose="020B0604020202020204" pitchFamily="34" charset="0"/>
              <a:buChar char="•"/>
            </a:pPr>
            <a:r>
              <a:rPr lang="ru-RU" sz="1900" b="1" dirty="0"/>
              <a:t>Овощи ФрутоНяня  </a:t>
            </a:r>
            <a:r>
              <a:rPr lang="ru-RU" sz="1700" dirty="0"/>
              <a:t>(наличие </a:t>
            </a:r>
            <a:r>
              <a:rPr lang="en-US" sz="1700" dirty="0"/>
              <a:t>TOP </a:t>
            </a:r>
            <a:r>
              <a:rPr lang="ru-RU" sz="1700" dirty="0"/>
              <a:t>4 </a:t>
            </a:r>
            <a:r>
              <a:rPr lang="en-US" sz="1700" dirty="0"/>
              <a:t>SKU </a:t>
            </a:r>
            <a:r>
              <a:rPr lang="ru-RU" sz="1700" dirty="0"/>
              <a:t>+ хорошая представленность) </a:t>
            </a:r>
            <a:r>
              <a:rPr lang="ru-RU" sz="1900" dirty="0"/>
              <a:t>- </a:t>
            </a:r>
            <a:r>
              <a:rPr lang="ru-RU" sz="1900" b="1" dirty="0"/>
              <a:t>гарантия продаж других категорий ФрутоНяня в сети</a:t>
            </a:r>
            <a:endParaRPr lang="ru-RU" sz="1100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6567720" y="4725692"/>
            <a:ext cx="284136" cy="361349"/>
          </a:xfrm>
          <a:prstGeom prst="rect">
            <a:avLst/>
          </a:prstGeom>
          <a:noFill/>
        </p:spPr>
        <p:txBody>
          <a:bodyPr wrap="none" lIns="83535" tIns="41763" rIns="83535" bIns="41763" rtlCol="0">
            <a:spAutoFit/>
          </a:bodyPr>
          <a:lstStyle/>
          <a:p>
            <a:r>
              <a:rPr lang="ru-RU" b="1" dirty="0" smtClean="0">
                <a:solidFill>
                  <a:srgbClr val="00CC00"/>
                </a:solidFill>
              </a:rPr>
              <a:t>+</a:t>
            </a:r>
            <a:endParaRPr lang="ru-RU" b="1" dirty="0">
              <a:solidFill>
                <a:srgbClr val="00CC00"/>
              </a:solidFill>
            </a:endParaRPr>
          </a:p>
        </p:txBody>
      </p:sp>
      <p:pic>
        <p:nvPicPr>
          <p:cNvPr id="13317" name="Picture 5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79329" y="4536466"/>
            <a:ext cx="1048982" cy="5719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0" name="Прямая со стрелкой 19"/>
          <p:cNvCxnSpPr/>
          <p:nvPr/>
        </p:nvCxnSpPr>
        <p:spPr>
          <a:xfrm>
            <a:off x="3515816" y="5019136"/>
            <a:ext cx="1285849" cy="0"/>
          </a:xfrm>
          <a:prstGeom prst="straightConnector1">
            <a:avLst/>
          </a:prstGeom>
          <a:ln w="28575">
            <a:solidFill>
              <a:srgbClr val="00CC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Группа 34"/>
          <p:cNvGrpSpPr/>
          <p:nvPr/>
        </p:nvGrpSpPr>
        <p:grpSpPr>
          <a:xfrm>
            <a:off x="6407310" y="5494760"/>
            <a:ext cx="2591424" cy="1108406"/>
            <a:chOff x="6606806" y="5882927"/>
            <a:chExt cx="3076311" cy="1342714"/>
          </a:xfrm>
        </p:grpSpPr>
        <p:pic>
          <p:nvPicPr>
            <p:cNvPr id="33" name="Picture 10" descr="http://img-fotki.yandex.ru/get/6203/119528728.1918/0_d2c00_9556abc6_XL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06806" y="5882927"/>
              <a:ext cx="1007036" cy="1342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10" descr="http://img-fotki.yandex.ru/get/6203/119528728.1918/0_d2c00_9556abc6_XL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52850" y="5882927"/>
              <a:ext cx="1007036" cy="1342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10" descr="http://img-fotki.yandex.ru/get/6203/119528728.1918/0_d2c00_9556abc6_XL">
              <a:hlinkClick r:id="rId14"/>
            </p:cNvPr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76081" y="5882927"/>
              <a:ext cx="1007036" cy="134271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6" name="Скругленный прямоугольник 35"/>
          <p:cNvSpPr/>
          <p:nvPr/>
        </p:nvSpPr>
        <p:spPr>
          <a:xfrm>
            <a:off x="4815308" y="4536466"/>
            <a:ext cx="1812844" cy="663064"/>
          </a:xfrm>
          <a:prstGeom prst="roundRect">
            <a:avLst/>
          </a:prstGeom>
          <a:ln w="28575">
            <a:solidFill>
              <a:srgbClr val="00CC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3535" tIns="41763" rIns="83535" bIns="41763" rtlCol="0" anchor="ctr"/>
          <a:lstStyle/>
          <a:p>
            <a:pPr algn="ctr"/>
            <a:endParaRPr lang="ru-RU"/>
          </a:p>
        </p:txBody>
      </p:sp>
      <p:sp>
        <p:nvSpPr>
          <p:cNvPr id="44" name="Скругленный прямоугольник 43"/>
          <p:cNvSpPr/>
          <p:nvPr/>
        </p:nvSpPr>
        <p:spPr>
          <a:xfrm>
            <a:off x="6817816" y="4536466"/>
            <a:ext cx="1913493" cy="663064"/>
          </a:xfrm>
          <a:prstGeom prst="roundRect">
            <a:avLst/>
          </a:prstGeom>
          <a:ln w="28575">
            <a:solidFill>
              <a:srgbClr val="00CC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83535" tIns="41763" rIns="83535" bIns="41763"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547468" y="4918346"/>
            <a:ext cx="1493480" cy="226796"/>
          </a:xfrm>
          <a:prstGeom prst="rect">
            <a:avLst/>
          </a:prstGeom>
          <a:noFill/>
        </p:spPr>
        <p:txBody>
          <a:bodyPr wrap="square" lIns="83535" tIns="41763" rIns="83535" bIns="41763" rtlCol="0">
            <a:spAutoFit/>
          </a:bodyPr>
          <a:lstStyle/>
          <a:p>
            <a:r>
              <a:rPr lang="ru-RU" sz="900" i="1" dirty="0"/>
              <a:t>ноябрь 2014-июль 2015</a:t>
            </a: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6709789" y="188640"/>
            <a:ext cx="2398716" cy="432048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Конфиденциально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143708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757" y="332656"/>
            <a:ext cx="8229600" cy="576064"/>
          </a:xfrm>
        </p:spPr>
        <p:txBody>
          <a:bodyPr>
            <a:noAutofit/>
          </a:bodyPr>
          <a:lstStyle/>
          <a:p>
            <a:pPr algn="l"/>
            <a:r>
              <a:rPr lang="ru-RU" sz="2000" b="1" dirty="0" smtClean="0">
                <a:solidFill>
                  <a:srgbClr val="0070C0"/>
                </a:solidFill>
              </a:rPr>
              <a:t>Почему мы расширяем категорию «салатиков»?</a:t>
            </a:r>
            <a:endParaRPr lang="ru-RU" sz="2000" b="1" dirty="0">
              <a:solidFill>
                <a:srgbClr val="0070C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4546181"/>
              </p:ext>
            </p:extLst>
          </p:nvPr>
        </p:nvGraphicFramePr>
        <p:xfrm>
          <a:off x="683568" y="3356992"/>
          <a:ext cx="8034874" cy="3835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5873"/>
                <a:gridCol w="706526"/>
                <a:gridCol w="635873"/>
                <a:gridCol w="635873"/>
                <a:gridCol w="706526"/>
                <a:gridCol w="699151"/>
                <a:gridCol w="572597"/>
                <a:gridCol w="706526"/>
                <a:gridCol w="635873"/>
                <a:gridCol w="706526"/>
                <a:gridCol w="706526"/>
                <a:gridCol w="687004"/>
              </a:tblGrid>
              <a:tr h="3835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Цветная капуст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Кабачо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Брокколи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Тыква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 smtClean="0">
                          <a:effectLst/>
                        </a:rPr>
                        <a:t>Овощи</a:t>
                      </a:r>
                      <a:endParaRPr lang="en-US" sz="800" b="1" u="none" strike="noStrike" dirty="0" smtClean="0">
                        <a:effectLst/>
                      </a:endParaRPr>
                    </a:p>
                    <a:p>
                      <a:pPr algn="ctr" fontAlgn="ctr"/>
                      <a:r>
                        <a:rPr lang="ru-RU" sz="800" b="1" u="none" strike="noStrike" dirty="0" smtClean="0">
                          <a:effectLst/>
                        </a:rPr>
                        <a:t>+</a:t>
                      </a:r>
                      <a:r>
                        <a:rPr lang="ru-RU" sz="800" b="1" u="none" strike="noStrike" dirty="0">
                          <a:effectLst/>
                        </a:rPr>
                        <a:t>молоко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«Салатики»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Морковь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Кабачок-картофель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Брокколи-кабачо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Цветная капуста-кабачок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Цветная капуста-картофель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800" b="1" u="none" strike="noStrike" dirty="0">
                          <a:effectLst/>
                        </a:rPr>
                        <a:t>Другие</a:t>
                      </a:r>
                      <a:endParaRPr lang="ru-RU" sz="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22" name="Таблица 2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3478533"/>
              </p:ext>
            </p:extLst>
          </p:nvPr>
        </p:nvGraphicFramePr>
        <p:xfrm>
          <a:off x="705234" y="3761242"/>
          <a:ext cx="8032275" cy="213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6407"/>
                <a:gridCol w="648072"/>
                <a:gridCol w="720079"/>
                <a:gridCol w="648072"/>
                <a:gridCol w="648072"/>
                <a:gridCol w="720081"/>
                <a:gridCol w="576064"/>
                <a:gridCol w="720080"/>
                <a:gridCol w="648072"/>
                <a:gridCol w="720080"/>
                <a:gridCol w="720080"/>
                <a:gridCol w="637116"/>
              </a:tblGrid>
              <a:tr h="153301"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7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8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0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1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>
                          <a:solidFill>
                            <a:schemeClr val="tx1"/>
                          </a:solidFill>
                        </a:rPr>
                        <a:t>12</a:t>
                      </a:r>
                      <a:endParaRPr lang="ru-RU" sz="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7" name="Picture 12" descr="http://portal/docs/product_photos/Изображения%20продукции/ФрутоНяня/овощные%20пюре%2080%20г/3D/кабачок%20брокколи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2773" y="4005064"/>
            <a:ext cx="672482" cy="635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http://portal/docs/product_photos/Изображения%20продукции/ФрутоНяня/овощные%20пюре%2080%20г/3D/морковь.jpg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401" t="28717" r="27527" b="11215"/>
          <a:stretch/>
        </p:blipFill>
        <p:spPr bwMode="auto">
          <a:xfrm>
            <a:off x="4654557" y="3933056"/>
            <a:ext cx="691539" cy="6915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Трапеция 10"/>
          <p:cNvSpPr/>
          <p:nvPr/>
        </p:nvSpPr>
        <p:spPr>
          <a:xfrm rot="17769816">
            <a:off x="5292801" y="3921502"/>
            <a:ext cx="448764" cy="2330814"/>
          </a:xfrm>
          <a:prstGeom prst="trapezoid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14" descr="http://portal/docs/product_photos/Изображения%20продукции/ФрутоНяня/овощные%20пюре%2080%20г/3D/кабачок%20картофель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5645" y="3993170"/>
            <a:ext cx="682929" cy="644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250" y="4077072"/>
            <a:ext cx="445458" cy="4855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8529" y="4050006"/>
            <a:ext cx="462553" cy="477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9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6241" y="4562662"/>
            <a:ext cx="487128" cy="487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 descr="http://portal/docs/product_photos/Изображения%20продукции/ФрутоНяня/овощные%20пюре%2080%20г/3D/тыква.jpg"/>
          <p:cNvPicPr>
            <a:picLocks noChangeAspect="1" noChangeArrowheads="1"/>
          </p:cNvPicPr>
          <p:nvPr/>
        </p:nvPicPr>
        <p:blipFill rotWithShape="1"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82" t="30529" r="28099" b="12355"/>
          <a:stretch/>
        </p:blipFill>
        <p:spPr bwMode="auto">
          <a:xfrm>
            <a:off x="2584112" y="3944763"/>
            <a:ext cx="720080" cy="648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" descr="http://portal/docs/product_photos/Изображения%20продукции/ФрутоНяня/овощные%20пюре%2080%20г/3D/кабачок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95" y="3605805"/>
            <a:ext cx="1476538" cy="1107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кругленный прямоугольник 18"/>
          <p:cNvSpPr/>
          <p:nvPr/>
        </p:nvSpPr>
        <p:spPr>
          <a:xfrm>
            <a:off x="3995936" y="1150397"/>
            <a:ext cx="658621" cy="3936512"/>
          </a:xfrm>
          <a:prstGeom prst="roundRect">
            <a:avLst/>
          </a:prstGeom>
          <a:noFill/>
          <a:ln>
            <a:solidFill>
              <a:srgbClr val="00B05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ru-RU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5536" y="5291091"/>
            <a:ext cx="5243054" cy="129796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endParaRPr lang="ru-RU" sz="1200" dirty="0" smtClean="0">
              <a:solidFill>
                <a:schemeClr val="tx1"/>
              </a:solidFill>
            </a:endParaRPr>
          </a:p>
          <a:p>
            <a:pPr marL="285694" indent="-285694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Овощные «салатики» - 6-ой по популярности вкус</a:t>
            </a:r>
          </a:p>
          <a:p>
            <a:pPr marL="285694" indent="-285694">
              <a:buFont typeface="Arial" panose="020B0604020202020204" pitchFamily="34" charset="0"/>
              <a:buChar char="•"/>
            </a:pPr>
            <a:r>
              <a:rPr lang="ru-RU" sz="1200" b="1" dirty="0" err="1" smtClean="0">
                <a:solidFill>
                  <a:schemeClr val="tx1"/>
                </a:solidFill>
              </a:rPr>
              <a:t>ФрутоНяня</a:t>
            </a:r>
            <a:r>
              <a:rPr lang="ru-RU" sz="1200" b="1" dirty="0" smtClean="0">
                <a:solidFill>
                  <a:schemeClr val="tx1"/>
                </a:solidFill>
              </a:rPr>
              <a:t> как лидер </a:t>
            </a:r>
            <a:r>
              <a:rPr lang="ru-RU" sz="1200" dirty="0" smtClean="0">
                <a:solidFill>
                  <a:schemeClr val="tx1"/>
                </a:solidFill>
              </a:rPr>
              <a:t>категории овощи и </a:t>
            </a:r>
            <a:r>
              <a:rPr lang="ru-RU" sz="1200" b="1" dirty="0" smtClean="0">
                <a:solidFill>
                  <a:schemeClr val="tx1"/>
                </a:solidFill>
              </a:rPr>
              <a:t>сегмента «салатиков» (67% продаж) </a:t>
            </a:r>
            <a:r>
              <a:rPr lang="ru-RU" sz="1200" dirty="0" smtClean="0">
                <a:solidFill>
                  <a:schemeClr val="tx1"/>
                </a:solidFill>
              </a:rPr>
              <a:t>ищет новые решения, которые будут востребованы мамами и малышами</a:t>
            </a:r>
          </a:p>
          <a:p>
            <a:pPr marL="285694" indent="-285694">
              <a:buFont typeface="Arial" panose="020B0604020202020204" pitchFamily="34" charset="0"/>
              <a:buChar char="•"/>
            </a:pPr>
            <a:r>
              <a:rPr lang="ru-RU" sz="1200" b="1" dirty="0" smtClean="0">
                <a:solidFill>
                  <a:schemeClr val="tx1"/>
                </a:solidFill>
              </a:rPr>
              <a:t>«Салатики» востребованы рынком</a:t>
            </a:r>
            <a:r>
              <a:rPr lang="ru-RU" sz="1200" dirty="0" smtClean="0">
                <a:solidFill>
                  <a:schemeClr val="tx1"/>
                </a:solidFill>
              </a:rPr>
              <a:t>: расширение рациона, разнообразие витаминов и минералов, гарнир к мясным прикормам</a:t>
            </a:r>
          </a:p>
          <a:p>
            <a:pPr marL="285694" indent="-285694">
              <a:buFont typeface="Arial" panose="020B0604020202020204" pitchFamily="34" charset="0"/>
              <a:buChar char="•"/>
            </a:pPr>
            <a:endParaRPr lang="ru-RU" sz="1200" b="1" dirty="0">
              <a:solidFill>
                <a:schemeClr val="tx1"/>
              </a:solidFill>
            </a:endParaRP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755576" y="3356992"/>
            <a:ext cx="7981933" cy="0"/>
          </a:xfrm>
          <a:prstGeom prst="line">
            <a:avLst/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/>
          <p:cNvSpPr txBox="1"/>
          <p:nvPr/>
        </p:nvSpPr>
        <p:spPr>
          <a:xfrm>
            <a:off x="-15603" y="6589060"/>
            <a:ext cx="6136849" cy="259738"/>
          </a:xfrm>
          <a:prstGeom prst="rect">
            <a:avLst/>
          </a:prstGeom>
          <a:noFill/>
        </p:spPr>
        <p:txBody>
          <a:bodyPr wrap="square" lIns="89606" tIns="44793" rIns="89606" bIns="44793" rtlCol="0">
            <a:spAutoFit/>
          </a:bodyPr>
          <a:lstStyle/>
          <a:p>
            <a:pPr defTabSz="960077"/>
            <a:r>
              <a:rPr lang="ru-RU" sz="1100" dirty="0" smtClean="0">
                <a:solidFill>
                  <a:prstClr val="black"/>
                </a:solidFill>
              </a:rPr>
              <a:t>По </a:t>
            </a:r>
            <a:r>
              <a:rPr lang="ru-RU" sz="1100" dirty="0">
                <a:solidFill>
                  <a:prstClr val="black"/>
                </a:solidFill>
              </a:rPr>
              <a:t>данным © ООО «ЭЙ СИ НИЛЬСЕН» </a:t>
            </a:r>
            <a:r>
              <a:rPr lang="en-US" sz="1100" dirty="0" smtClean="0">
                <a:solidFill>
                  <a:prstClr val="black"/>
                </a:solidFill>
              </a:rPr>
              <a:t>YTD’</a:t>
            </a:r>
            <a:r>
              <a:rPr lang="ru-RU" sz="1100" dirty="0">
                <a:solidFill>
                  <a:prstClr val="black"/>
                </a:solidFill>
              </a:rPr>
              <a:t>1</a:t>
            </a:r>
            <a:r>
              <a:rPr lang="en-US" sz="1100" dirty="0" smtClean="0">
                <a:solidFill>
                  <a:prstClr val="black"/>
                </a:solidFill>
              </a:rPr>
              <a:t>6</a:t>
            </a:r>
            <a:endParaRPr lang="ru-RU" sz="1100" dirty="0">
              <a:solidFill>
                <a:prstClr val="black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7555" y="5091804"/>
            <a:ext cx="3737226" cy="15512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Freeform 29"/>
          <p:cNvSpPr>
            <a:spLocks/>
          </p:cNvSpPr>
          <p:nvPr/>
        </p:nvSpPr>
        <p:spPr bwMode="gray">
          <a:xfrm rot="21211154">
            <a:off x="6961627" y="5951966"/>
            <a:ext cx="549333" cy="267911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0">
            <a:solidFill>
              <a:srgbClr val="00B05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03" tIns="91403" rIns="91403" bIns="91403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036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26" name="Freeform 29"/>
          <p:cNvSpPr>
            <a:spLocks/>
          </p:cNvSpPr>
          <p:nvPr/>
        </p:nvSpPr>
        <p:spPr bwMode="gray">
          <a:xfrm rot="21211154">
            <a:off x="6361811" y="5356818"/>
            <a:ext cx="373084" cy="247888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0">
            <a:solidFill>
              <a:srgbClr val="00B05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03" tIns="91403" rIns="91403" bIns="91403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036"/>
            <a:endParaRPr lang="ru-RU">
              <a:solidFill>
                <a:prstClr val="black"/>
              </a:solidFill>
            </a:endParaRPr>
          </a:p>
        </p:txBody>
      </p:sp>
      <p:pic>
        <p:nvPicPr>
          <p:cNvPr id="27" name="Picture 4" descr="C:\Users\vtarasova\Desktop\FRUTO\ОВОЩНЫЕ ПЮРЕ\COMPETITORS\Veget_Brokkoli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3677" y="4804867"/>
            <a:ext cx="223879" cy="3902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6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54405">
            <a:off x="6022319" y="5033403"/>
            <a:ext cx="197857" cy="1956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9" name="TextBox 28"/>
          <p:cNvSpPr txBox="1"/>
          <p:nvPr/>
        </p:nvSpPr>
        <p:spPr>
          <a:xfrm>
            <a:off x="6121246" y="4619346"/>
            <a:ext cx="2406798" cy="2308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r>
              <a:rPr lang="ru-RU" sz="900" b="1" u="sng" dirty="0"/>
              <a:t>Категория «салатиков», доля в объеме,%*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575345" y="878541"/>
            <a:ext cx="3320873" cy="246203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r>
              <a:rPr lang="ru-RU" sz="1000" b="1" dirty="0" smtClean="0"/>
              <a:t>ТОП 12 рынка овощных пюре, доля в объеме, %</a:t>
            </a:r>
            <a:endParaRPr lang="ru-RU" sz="1000" b="1" dirty="0"/>
          </a:p>
        </p:txBody>
      </p:sp>
      <p:pic>
        <p:nvPicPr>
          <p:cNvPr id="31" name="Picture 8" descr="P:\Disigner\ФРУТОНЯНЯ\пюре овощи 80 гр\цветная капуста\2014\3d\цв кап.png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1" t="37120" r="34695" b="18820"/>
          <a:stretch/>
        </p:blipFill>
        <p:spPr bwMode="auto">
          <a:xfrm>
            <a:off x="755576" y="4010042"/>
            <a:ext cx="484982" cy="494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9" descr="P:\Disigner\ФРУТОНЯНЯ\пюре овощи 80 гр\брокколи\2014\3d\брок.pn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35063" r="32033" b="17606"/>
          <a:stretch/>
        </p:blipFill>
        <p:spPr bwMode="auto">
          <a:xfrm>
            <a:off x="2050775" y="4005064"/>
            <a:ext cx="533337" cy="527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124744"/>
            <a:ext cx="8278813" cy="235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67820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кругленный прямоугольник 6"/>
          <p:cNvSpPr/>
          <p:nvPr/>
        </p:nvSpPr>
        <p:spPr>
          <a:xfrm>
            <a:off x="6156175" y="3339007"/>
            <a:ext cx="2907033" cy="954089"/>
          </a:xfrm>
          <a:prstGeom prst="round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086920"/>
            <a:ext cx="3328530" cy="3127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29"/>
          <p:cNvSpPr>
            <a:spLocks/>
          </p:cNvSpPr>
          <p:nvPr/>
        </p:nvSpPr>
        <p:spPr bwMode="gray">
          <a:xfrm rot="21211154">
            <a:off x="5188600" y="4019793"/>
            <a:ext cx="1181746" cy="785184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0">
            <a:solidFill>
              <a:srgbClr val="00B05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03" tIns="91403" rIns="91403" bIns="91403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036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369558" y="2065648"/>
            <a:ext cx="2878293" cy="621392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Freeform 29"/>
          <p:cNvSpPr>
            <a:spLocks/>
          </p:cNvSpPr>
          <p:nvPr/>
        </p:nvSpPr>
        <p:spPr bwMode="gray">
          <a:xfrm rot="21211154">
            <a:off x="5034232" y="2559671"/>
            <a:ext cx="896558" cy="585609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0">
            <a:solidFill>
              <a:srgbClr val="00B05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03" tIns="91403" rIns="91403" bIns="91403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036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1347344" y="3514935"/>
            <a:ext cx="2878293" cy="621392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1333667" y="4993946"/>
            <a:ext cx="2878293" cy="621392"/>
          </a:xfrm>
          <a:prstGeom prst="roundRect">
            <a:avLst/>
          </a:prstGeom>
          <a:solidFill>
            <a:srgbClr val="00B0F0"/>
          </a:solidFill>
          <a:ln>
            <a:solidFill>
              <a:srgbClr val="00B0F0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54" name="Picture 6" descr="C:\Users\asuslova\Desktop\Аня\портал\ФН\овощные пюре 80 г\3D\кабачок.pn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86" t="31377" r="32474" b="16105"/>
          <a:stretch/>
        </p:blipFill>
        <p:spPr bwMode="auto">
          <a:xfrm>
            <a:off x="18318" y="4293096"/>
            <a:ext cx="1573404" cy="1691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1591722" y="4993946"/>
            <a:ext cx="2442133" cy="646331"/>
          </a:xfrm>
          <a:prstGeom prst="rect">
            <a:avLst/>
          </a:prstGeom>
        </p:spPr>
        <p:txBody>
          <a:bodyPr wrap="square" lIns="91422" tIns="45711" rIns="91422" bIns="45711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Кабачок</a:t>
            </a:r>
            <a:r>
              <a:rPr lang="ru-RU" dirty="0" smtClean="0">
                <a:solidFill>
                  <a:schemeClr val="bg1"/>
                </a:solidFill>
              </a:rPr>
              <a:t> – витамин С, натрий и калий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1609127" y="2040709"/>
            <a:ext cx="2674841" cy="646331"/>
          </a:xfrm>
          <a:prstGeom prst="rect">
            <a:avLst/>
          </a:prstGeom>
        </p:spPr>
        <p:txBody>
          <a:bodyPr wrap="square" lIns="91422" tIns="45711" rIns="91422" bIns="45711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Цветная капуста </a:t>
            </a:r>
            <a:r>
              <a:rPr lang="ru-RU" dirty="0" smtClean="0">
                <a:solidFill>
                  <a:schemeClr val="bg1"/>
                </a:solidFill>
              </a:rPr>
              <a:t>– витамины группы </a:t>
            </a:r>
            <a:r>
              <a:rPr lang="en-US" dirty="0" smtClean="0">
                <a:solidFill>
                  <a:schemeClr val="bg1"/>
                </a:solidFill>
              </a:rPr>
              <a:t>B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583937" y="3501008"/>
            <a:ext cx="2699385" cy="646313"/>
          </a:xfrm>
          <a:prstGeom prst="rect">
            <a:avLst/>
          </a:prstGeom>
          <a:ln>
            <a:noFill/>
          </a:ln>
        </p:spPr>
        <p:txBody>
          <a:bodyPr wrap="square" lIns="91422" tIns="45711" rIns="91422" bIns="45711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</a:rPr>
              <a:t>Брокколи</a:t>
            </a:r>
            <a:r>
              <a:rPr lang="ru-RU" dirty="0" smtClean="0">
                <a:solidFill>
                  <a:schemeClr val="bg1"/>
                </a:solidFill>
              </a:rPr>
              <a:t> –</a:t>
            </a:r>
            <a:r>
              <a:rPr lang="en-US" dirty="0" smtClean="0">
                <a:solidFill>
                  <a:schemeClr val="bg1"/>
                </a:solidFill>
              </a:rPr>
              <a:t> </a:t>
            </a:r>
            <a:r>
              <a:rPr lang="ru-RU" dirty="0" smtClean="0">
                <a:solidFill>
                  <a:schemeClr val="bg1"/>
                </a:solidFill>
              </a:rPr>
              <a:t>витамины С, А, калий, железо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8" name="Заголовок 1"/>
          <p:cNvSpPr>
            <a:spLocks noGrp="1"/>
          </p:cNvSpPr>
          <p:nvPr>
            <p:ph type="title"/>
          </p:nvPr>
        </p:nvSpPr>
        <p:spPr>
          <a:xfrm>
            <a:off x="435033" y="548680"/>
            <a:ext cx="8506843" cy="576064"/>
          </a:xfrm>
        </p:spPr>
        <p:txBody>
          <a:bodyPr>
            <a:noAutofit/>
          </a:bodyPr>
          <a:lstStyle/>
          <a:p>
            <a:pPr algn="l"/>
            <a:r>
              <a:rPr lang="ru-RU" sz="2000" b="1" dirty="0" err="1" smtClean="0">
                <a:solidFill>
                  <a:srgbClr val="0070C0"/>
                </a:solidFill>
              </a:rPr>
              <a:t>ФрутоНяня</a:t>
            </a:r>
            <a:r>
              <a:rPr lang="ru-RU" sz="2000" b="1" dirty="0" smtClean="0">
                <a:solidFill>
                  <a:srgbClr val="0070C0"/>
                </a:solidFill>
              </a:rPr>
              <a:t> представляет новый «салатик»: привлекательно снаружи, полезно внутри!</a:t>
            </a:r>
            <a:endParaRPr lang="ru-RU" sz="2000" b="1" dirty="0">
              <a:solidFill>
                <a:srgbClr val="0070C0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617048" y="3339440"/>
            <a:ext cx="2491456" cy="954089"/>
          </a:xfrm>
          <a:prstGeom prst="rect">
            <a:avLst/>
          </a:prstGeom>
          <a:noFill/>
        </p:spPr>
        <p:txBody>
          <a:bodyPr wrap="square" lIns="91422" tIns="45711" rIns="91422" bIns="45711">
            <a:spAutoFit/>
          </a:bodyPr>
          <a:lstStyle/>
          <a:p>
            <a:r>
              <a:rPr lang="ru-RU" sz="1400" b="1" dirty="0">
                <a:solidFill>
                  <a:schemeClr val="bg1"/>
                </a:solidFill>
              </a:rPr>
              <a:t>Три</a:t>
            </a:r>
            <a:r>
              <a:rPr lang="en-US" sz="1400" b="1" dirty="0">
                <a:solidFill>
                  <a:schemeClr val="bg1"/>
                </a:solidFill>
              </a:rPr>
              <a:t> </a:t>
            </a:r>
            <a:r>
              <a:rPr lang="ru-RU" sz="1400" b="1" dirty="0">
                <a:solidFill>
                  <a:schemeClr val="bg1"/>
                </a:solidFill>
              </a:rPr>
              <a:t>овоща </a:t>
            </a:r>
            <a:r>
              <a:rPr lang="ru-RU" sz="1400" b="1" dirty="0" smtClean="0">
                <a:solidFill>
                  <a:schemeClr val="bg1"/>
                </a:solidFill>
              </a:rPr>
              <a:t>«первого выбора»** </a:t>
            </a:r>
            <a:r>
              <a:rPr lang="ru-RU" sz="1400" b="1" dirty="0">
                <a:solidFill>
                  <a:schemeClr val="bg1"/>
                </a:solidFill>
              </a:rPr>
              <a:t>в одном салатике </a:t>
            </a:r>
            <a:r>
              <a:rPr lang="ru-RU" sz="1400" dirty="0" smtClean="0">
                <a:solidFill>
                  <a:schemeClr val="bg1"/>
                </a:solidFill>
              </a:rPr>
              <a:t>– </a:t>
            </a:r>
            <a:r>
              <a:rPr lang="ru-RU" sz="1400" b="1" dirty="0" err="1" smtClean="0">
                <a:solidFill>
                  <a:schemeClr val="bg1"/>
                </a:solidFill>
              </a:rPr>
              <a:t>гипоаллергенная</a:t>
            </a:r>
            <a:r>
              <a:rPr lang="ru-RU" sz="1400" b="1" dirty="0" smtClean="0">
                <a:solidFill>
                  <a:schemeClr val="bg1"/>
                </a:solidFill>
              </a:rPr>
              <a:t> польза </a:t>
            </a:r>
            <a:endParaRPr lang="en-US" sz="1400" b="1" dirty="0" smtClean="0">
              <a:solidFill>
                <a:schemeClr val="bg1"/>
              </a:solidFill>
            </a:endParaRPr>
          </a:p>
          <a:p>
            <a:r>
              <a:rPr lang="ru-RU" sz="1400" b="1" dirty="0" smtClean="0">
                <a:solidFill>
                  <a:schemeClr val="bg1"/>
                </a:solidFill>
              </a:rPr>
              <a:t>в кубе</a:t>
            </a:r>
            <a:r>
              <a:rPr lang="ru-RU" sz="1400" b="1" baseline="30000" dirty="0" smtClean="0">
                <a:solidFill>
                  <a:schemeClr val="bg1"/>
                </a:solidFill>
              </a:rPr>
              <a:t>3</a:t>
            </a:r>
            <a:endParaRPr lang="en-US" sz="1400" b="1" baseline="30000" dirty="0">
              <a:solidFill>
                <a:schemeClr val="bg1"/>
              </a:solidFill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697217" y="2119993"/>
            <a:ext cx="1815752" cy="439772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Выделение новинки на полке</a:t>
            </a:r>
            <a:endParaRPr lang="ru-RU" sz="1200" b="1" dirty="0"/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4716016" y="4941168"/>
            <a:ext cx="1839193" cy="430627"/>
          </a:xfrm>
          <a:prstGeom prst="round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/>
              <a:t>Выделяющий свойства продукта клейм</a:t>
            </a:r>
            <a:endParaRPr lang="ru-RU" sz="1200" b="1" dirty="0"/>
          </a:p>
        </p:txBody>
      </p:sp>
      <p:pic>
        <p:nvPicPr>
          <p:cNvPr id="2056" name="Picture 8" descr="P:\Disigner\ФРУТОНЯНЯ\пюре овощи 80 гр\цветная капуста\2014\3d\цв кап.pn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1" t="37120" r="34695" b="18820"/>
          <a:stretch/>
        </p:blipFill>
        <p:spPr bwMode="auto">
          <a:xfrm>
            <a:off x="134278" y="1591778"/>
            <a:ext cx="1379244" cy="1405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7" name="Picture 9" descr="P:\Disigner\ФРУТОНЯНЯ\пюре овощи 80 гр\брокколи\2014\3d\брок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35063" r="32033" b="17606"/>
          <a:stretch/>
        </p:blipFill>
        <p:spPr bwMode="auto">
          <a:xfrm>
            <a:off x="56237" y="2944668"/>
            <a:ext cx="1566621" cy="15493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Прямоугольник 23"/>
          <p:cNvSpPr/>
          <p:nvPr/>
        </p:nvSpPr>
        <p:spPr>
          <a:xfrm>
            <a:off x="2915816" y="6597352"/>
            <a:ext cx="5793570" cy="261592"/>
          </a:xfrm>
          <a:prstGeom prst="rect">
            <a:avLst/>
          </a:prstGeom>
        </p:spPr>
        <p:txBody>
          <a:bodyPr wrap="square" lIns="91422" tIns="45711" rIns="91422" bIns="45711">
            <a:spAutoFit/>
          </a:bodyPr>
          <a:lstStyle/>
          <a:p>
            <a:r>
              <a:rPr lang="ru-RU" sz="1100" dirty="0" smtClean="0"/>
              <a:t>**Продукты рекомендованные для начала прикорма - первое, что пробует ребенок</a:t>
            </a:r>
            <a:endParaRPr lang="en-US" sz="1100" b="1" baseline="300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0301" y="1040722"/>
            <a:ext cx="1300102" cy="2172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авая фигурная скобка 5"/>
          <p:cNvSpPr/>
          <p:nvPr/>
        </p:nvSpPr>
        <p:spPr>
          <a:xfrm>
            <a:off x="4283968" y="2294365"/>
            <a:ext cx="216024" cy="3205727"/>
          </a:xfrm>
          <a:prstGeom prst="rightBrace">
            <a:avLst/>
          </a:prstGeom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TextBox 29"/>
          <p:cNvSpPr txBox="1"/>
          <p:nvPr/>
        </p:nvSpPr>
        <p:spPr>
          <a:xfrm>
            <a:off x="6348799" y="797751"/>
            <a:ext cx="2764127" cy="246203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algn="ctr"/>
            <a:r>
              <a:rPr lang="ru-RU" sz="1000" b="1" dirty="0" smtClean="0"/>
              <a:t>ТОП </a:t>
            </a:r>
            <a:r>
              <a:rPr lang="en-US" sz="1000" b="1" dirty="0" smtClean="0"/>
              <a:t>3</a:t>
            </a:r>
            <a:r>
              <a:rPr lang="ru-RU" sz="1000" b="1" dirty="0" smtClean="0"/>
              <a:t> овощных пюре, доля в объеме, %*</a:t>
            </a:r>
            <a:endParaRPr lang="ru-RU" sz="1000" b="1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948264" y="1040722"/>
            <a:ext cx="1584176" cy="2140175"/>
          </a:xfrm>
          <a:prstGeom prst="roundRect">
            <a:avLst/>
          </a:prstGeom>
          <a:noFill/>
          <a:ln>
            <a:solidFill>
              <a:srgbClr val="00B0F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7405" y="6598262"/>
            <a:ext cx="6136849" cy="259738"/>
          </a:xfrm>
          <a:prstGeom prst="rect">
            <a:avLst/>
          </a:prstGeom>
          <a:noFill/>
        </p:spPr>
        <p:txBody>
          <a:bodyPr wrap="square" lIns="89606" tIns="44793" rIns="89606" bIns="44793" rtlCol="0">
            <a:spAutoFit/>
          </a:bodyPr>
          <a:lstStyle/>
          <a:p>
            <a:pPr defTabSz="960077"/>
            <a:r>
              <a:rPr lang="ru-RU" sz="1100" dirty="0" smtClean="0">
                <a:solidFill>
                  <a:prstClr val="black"/>
                </a:solidFill>
              </a:rPr>
              <a:t>*По </a:t>
            </a:r>
            <a:r>
              <a:rPr lang="ru-RU" sz="1100" dirty="0">
                <a:solidFill>
                  <a:prstClr val="black"/>
                </a:solidFill>
              </a:rPr>
              <a:t>данным © ООО «ЭЙ СИ НИЛЬСЕН» </a:t>
            </a:r>
            <a:r>
              <a:rPr lang="en-US" sz="1100" dirty="0" smtClean="0">
                <a:solidFill>
                  <a:prstClr val="black"/>
                </a:solidFill>
              </a:rPr>
              <a:t>YTD’</a:t>
            </a:r>
            <a:r>
              <a:rPr lang="ru-RU" sz="1100" dirty="0">
                <a:solidFill>
                  <a:prstClr val="black"/>
                </a:solidFill>
              </a:rPr>
              <a:t>1</a:t>
            </a:r>
            <a:r>
              <a:rPr lang="en-US" sz="1100" dirty="0" smtClean="0">
                <a:solidFill>
                  <a:prstClr val="black"/>
                </a:solidFill>
              </a:rPr>
              <a:t>6</a:t>
            </a:r>
            <a:endParaRPr lang="ru-RU" sz="11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1996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/>
        </p:nvSpPr>
        <p:spPr>
          <a:xfrm>
            <a:off x="371572" y="3776899"/>
            <a:ext cx="7292055" cy="22382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1"/>
                </a:solidFill>
              </a:rPr>
              <a:t>Предложение от лидера рынка в </a:t>
            </a:r>
            <a:r>
              <a:rPr lang="ru-RU" b="1" dirty="0">
                <a:solidFill>
                  <a:schemeClr val="tx1"/>
                </a:solidFill>
              </a:rPr>
              <a:t>овощных пюре и в сегменте «салатиков</a:t>
            </a:r>
            <a:r>
              <a:rPr lang="ru-RU" b="1" dirty="0" smtClean="0">
                <a:solidFill>
                  <a:schemeClr val="tx1"/>
                </a:solidFill>
              </a:rPr>
              <a:t>»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1"/>
                </a:solidFill>
              </a:rPr>
              <a:t>Овощи</a:t>
            </a:r>
            <a:r>
              <a:rPr lang="ru-RU" dirty="0" smtClean="0">
                <a:solidFill>
                  <a:schemeClr val="tx1"/>
                </a:solidFill>
              </a:rPr>
              <a:t> – начало прикорма       выбор магазина       лояльность к сети</a:t>
            </a:r>
            <a:endParaRPr lang="en-US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Минимум 4 </a:t>
            </a:r>
            <a:r>
              <a:rPr lang="en-US" dirty="0" smtClean="0">
                <a:solidFill>
                  <a:schemeClr val="tx1"/>
                </a:solidFill>
              </a:rPr>
              <a:t>SKU</a:t>
            </a:r>
            <a:r>
              <a:rPr lang="ru-RU" dirty="0" smtClean="0">
                <a:solidFill>
                  <a:schemeClr val="tx1"/>
                </a:solidFill>
              </a:rPr>
              <a:t> овощей одного бренда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ru-RU" dirty="0" smtClean="0">
                <a:solidFill>
                  <a:schemeClr val="tx1"/>
                </a:solidFill>
              </a:rPr>
              <a:t>в точке + мясо (того же бренда) – рост трафика в сети*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3204" y="476672"/>
            <a:ext cx="8229600" cy="576064"/>
          </a:xfrm>
        </p:spPr>
        <p:txBody>
          <a:bodyPr>
            <a:noAutofit/>
          </a:bodyPr>
          <a:lstStyle/>
          <a:p>
            <a:r>
              <a:rPr lang="ru-RU" sz="2000" b="1" dirty="0" smtClean="0">
                <a:solidFill>
                  <a:srgbClr val="0070C0"/>
                </a:solidFill>
              </a:rPr>
              <a:t>Линейка «салатиков» </a:t>
            </a:r>
            <a:r>
              <a:rPr lang="ru-RU" sz="2000" b="1" dirty="0" err="1" smtClean="0">
                <a:solidFill>
                  <a:srgbClr val="0070C0"/>
                </a:solidFill>
              </a:rPr>
              <a:t>ФрутоНяня</a:t>
            </a:r>
            <a:r>
              <a:rPr lang="ru-RU" sz="2000" b="1" dirty="0" smtClean="0">
                <a:solidFill>
                  <a:srgbClr val="0070C0"/>
                </a:solidFill>
              </a:rPr>
              <a:t> – уникальное предложение на рынке</a:t>
            </a:r>
            <a:endParaRPr lang="ru-RU" sz="2000" b="1" dirty="0">
              <a:solidFill>
                <a:srgbClr val="0070C0"/>
              </a:solidFill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6099875" y="2348880"/>
            <a:ext cx="2576581" cy="1089989"/>
            <a:chOff x="6243891" y="1186883"/>
            <a:chExt cx="3775294" cy="1637246"/>
          </a:xfrm>
        </p:grpSpPr>
        <p:pic>
          <p:nvPicPr>
            <p:cNvPr id="3" name="Picture 3" descr="C:\Users\mKadantseva\AppData\Local\Microsoft\Windows\Temporary Internet Files\Content.Outlook\VCUV0R1N\80_pure_perviy salatik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3891" y="1186883"/>
              <a:ext cx="1717244" cy="161371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" name="Picture 2" descr="C:\Users\asuslova\Desktop\Аня\портал\ФН\овощные пюре 80 г\3D\овощной салатик_80 гр_2014.jpg"/>
            <p:cNvPicPr>
              <a:picLocks noChangeAspect="1" noChangeArrowheads="1"/>
            </p:cNvPicPr>
            <p:nvPr/>
          </p:nvPicPr>
          <p:blipFill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59259" y="1201093"/>
              <a:ext cx="1759478" cy="16230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717322" y="1460368"/>
              <a:ext cx="1301863" cy="12716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7" name="Скругленный прямоугольник 6"/>
          <p:cNvSpPr/>
          <p:nvPr/>
        </p:nvSpPr>
        <p:spPr>
          <a:xfrm>
            <a:off x="251520" y="1174502"/>
            <a:ext cx="8730716" cy="2254498"/>
          </a:xfrm>
          <a:prstGeom prst="roundRect">
            <a:avLst/>
          </a:prstGeom>
          <a:noFill/>
          <a:ln w="28575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51520" y="3717032"/>
            <a:ext cx="8730716" cy="2664295"/>
          </a:xfrm>
          <a:prstGeom prst="round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 rot="5400000">
            <a:off x="1690669" y="45636"/>
            <a:ext cx="332534" cy="2346735"/>
          </a:xfrm>
          <a:prstGeom prst="roundRect">
            <a:avLst/>
          </a:prstGeom>
          <a:solidFill>
            <a:srgbClr val="00B0F0"/>
          </a:solidFill>
          <a:ln w="25400" cap="flat" cmpd="sng" algn="ctr">
            <a:noFill/>
            <a:prstDash val="solid"/>
          </a:ln>
          <a:effectLst/>
        </p:spPr>
        <p:txBody>
          <a:bodyPr vert="vert270" lIns="84016" tIns="42009" rIns="84016" bIns="42009" rtlCol="0" anchor="ctr"/>
          <a:lstStyle/>
          <a:p>
            <a:pPr algn="ctr" defTabSz="420082">
              <a:defRPr/>
            </a:pPr>
            <a:r>
              <a:rPr lang="ru-RU" sz="1474" b="1" kern="0" dirty="0" smtClean="0">
                <a:solidFill>
                  <a:prstClr val="white"/>
                </a:solidFill>
                <a:latin typeface="Calibri"/>
              </a:rPr>
              <a:t>Выгоды для потребителя</a:t>
            </a:r>
            <a:endParaRPr lang="ru-RU" sz="1474" b="1" kern="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 rot="5400000">
            <a:off x="1690669" y="2521413"/>
            <a:ext cx="332534" cy="2346735"/>
          </a:xfrm>
          <a:prstGeom prst="roundRect">
            <a:avLst/>
          </a:prstGeom>
          <a:solidFill>
            <a:srgbClr val="00B050"/>
          </a:solidFill>
          <a:ln w="25400" cap="flat" cmpd="sng" algn="ctr">
            <a:noFill/>
            <a:prstDash val="solid"/>
          </a:ln>
          <a:effectLst/>
        </p:spPr>
        <p:txBody>
          <a:bodyPr vert="vert270" lIns="84016" tIns="42009" rIns="84016" bIns="42009" rtlCol="0" anchor="ctr"/>
          <a:lstStyle/>
          <a:p>
            <a:pPr algn="ctr" defTabSz="420082">
              <a:defRPr/>
            </a:pPr>
            <a:r>
              <a:rPr lang="ru-RU" sz="1474" b="1" kern="0" dirty="0" smtClean="0">
                <a:solidFill>
                  <a:prstClr val="white"/>
                </a:solidFill>
                <a:latin typeface="Calibri"/>
              </a:rPr>
              <a:t>Выгоды для клиента</a:t>
            </a:r>
            <a:endParaRPr lang="ru-RU" sz="1474" b="1" kern="0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1" name="Picture 2" descr="http://imcomvil-grup.md/uploads/galery/6fba26c8615a56a47933456f4085ad57.jp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746"/>
          <a:stretch/>
        </p:blipFill>
        <p:spPr bwMode="auto">
          <a:xfrm>
            <a:off x="6334157" y="1385272"/>
            <a:ext cx="2207592" cy="984078"/>
          </a:xfrm>
          <a:prstGeom prst="roundRect">
            <a:avLst>
              <a:gd name="adj" fmla="val 16667"/>
            </a:avLst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Прямоугольник 11"/>
          <p:cNvSpPr/>
          <p:nvPr/>
        </p:nvSpPr>
        <p:spPr>
          <a:xfrm>
            <a:off x="340633" y="1462072"/>
            <a:ext cx="5548647" cy="17281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1"/>
                </a:solidFill>
              </a:rPr>
              <a:t>«Мой первый салатик» </a:t>
            </a:r>
            <a:r>
              <a:rPr lang="ru-RU" dirty="0" smtClean="0">
                <a:solidFill>
                  <a:schemeClr val="tx1"/>
                </a:solidFill>
              </a:rPr>
              <a:t>- уникальное сочетание </a:t>
            </a:r>
            <a:r>
              <a:rPr lang="ru-RU" dirty="0" err="1" smtClean="0">
                <a:solidFill>
                  <a:schemeClr val="tx1"/>
                </a:solidFill>
              </a:rPr>
              <a:t>первоприкормных</a:t>
            </a:r>
            <a:r>
              <a:rPr lang="ru-RU" dirty="0" smtClean="0">
                <a:solidFill>
                  <a:schemeClr val="tx1"/>
                </a:solidFill>
              </a:rPr>
              <a:t> вкусов для развития вкусовой базы малыша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1"/>
                </a:solidFill>
              </a:rPr>
              <a:t>Элементы навигации </a:t>
            </a:r>
            <a:r>
              <a:rPr lang="ru-RU" dirty="0" smtClean="0">
                <a:solidFill>
                  <a:schemeClr val="tx1"/>
                </a:solidFill>
              </a:rPr>
              <a:t>помогут</a:t>
            </a:r>
            <a:r>
              <a:rPr lang="ru-RU" b="1" dirty="0" smtClean="0">
                <a:solidFill>
                  <a:schemeClr val="tx1"/>
                </a:solidFill>
              </a:rPr>
              <a:t> найти пюре на полке и </a:t>
            </a:r>
            <a:r>
              <a:rPr lang="ru-RU" dirty="0" smtClean="0">
                <a:solidFill>
                  <a:schemeClr val="tx1"/>
                </a:solidFill>
              </a:rPr>
              <a:t>расскажут</a:t>
            </a:r>
            <a:r>
              <a:rPr lang="ru-RU" b="1" dirty="0" smtClean="0">
                <a:solidFill>
                  <a:schemeClr val="tx1"/>
                </a:solidFill>
              </a:rPr>
              <a:t> об основных свойствах новинки</a:t>
            </a:r>
            <a:endParaRPr lang="ru-RU" dirty="0" smtClean="0">
              <a:solidFill>
                <a:schemeClr val="tx1"/>
              </a:solidFill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b="1" dirty="0" smtClean="0">
                <a:solidFill>
                  <a:schemeClr val="tx1"/>
                </a:solidFill>
              </a:rPr>
              <a:t>«Салатики» </a:t>
            </a:r>
            <a:r>
              <a:rPr lang="ru-RU" b="1" dirty="0" err="1" smtClean="0">
                <a:solidFill>
                  <a:schemeClr val="tx1"/>
                </a:solidFill>
              </a:rPr>
              <a:t>ФрутоНяня</a:t>
            </a:r>
            <a:r>
              <a:rPr lang="ru-RU" b="1" dirty="0" smtClean="0">
                <a:solidFill>
                  <a:schemeClr val="tx1"/>
                </a:solidFill>
              </a:rPr>
              <a:t> –  полноценная линейка</a:t>
            </a:r>
          </a:p>
        </p:txBody>
      </p:sp>
      <p:sp>
        <p:nvSpPr>
          <p:cNvPr id="16" name="Стрелка вправо 15"/>
          <p:cNvSpPr/>
          <p:nvPr/>
        </p:nvSpPr>
        <p:spPr>
          <a:xfrm>
            <a:off x="5868144" y="3026269"/>
            <a:ext cx="360040" cy="232741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17037" y="6597352"/>
            <a:ext cx="206735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82865"/>
            <a:r>
              <a:rPr lang="en-US" sz="1100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*IPSOS,</a:t>
            </a:r>
            <a:r>
              <a:rPr lang="ru-RU" sz="1100" kern="0" dirty="0" smtClean="0">
                <a:solidFill>
                  <a:prstClr val="black"/>
                </a:solidFill>
                <a:latin typeface="Calibri"/>
                <a:cs typeface="Arial" charset="0"/>
              </a:rPr>
              <a:t> 2016</a:t>
            </a:r>
            <a:endParaRPr lang="de-DE" sz="1100" kern="0" dirty="0">
              <a:solidFill>
                <a:prstClr val="black"/>
              </a:solidFill>
              <a:latin typeface="Calibri"/>
              <a:cs typeface="Arial" charset="0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3469216" y="4753595"/>
            <a:ext cx="221690" cy="207321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271868" y="3861048"/>
            <a:ext cx="1401868" cy="926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Стрелка вправо 18"/>
          <p:cNvSpPr/>
          <p:nvPr/>
        </p:nvSpPr>
        <p:spPr>
          <a:xfrm>
            <a:off x="5366501" y="4769429"/>
            <a:ext cx="249451" cy="212769"/>
          </a:xfrm>
          <a:prstGeom prst="rightArrow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TextBox 5"/>
          <p:cNvSpPr txBox="1"/>
          <p:nvPr/>
        </p:nvSpPr>
        <p:spPr>
          <a:xfrm>
            <a:off x="8625029" y="3789040"/>
            <a:ext cx="35720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 smtClean="0"/>
              <a:t>*</a:t>
            </a:r>
            <a:endParaRPr lang="ru-RU" sz="11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485927" y="6133752"/>
            <a:ext cx="817017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 smtClean="0"/>
              <a:t>*т.к</a:t>
            </a:r>
            <a:r>
              <a:rPr lang="ru-RU" sz="900" dirty="0"/>
              <a:t>. </a:t>
            </a:r>
            <a:r>
              <a:rPr lang="ru-RU" sz="900" dirty="0">
                <a:solidFill>
                  <a:prstClr val="black"/>
                </a:solidFill>
              </a:rPr>
              <a:t>41% мам меняют магазин при рождении </a:t>
            </a:r>
            <a:r>
              <a:rPr lang="ru-RU" sz="900" dirty="0" smtClean="0">
                <a:solidFill>
                  <a:prstClr val="black"/>
                </a:solidFill>
              </a:rPr>
              <a:t>первенца, 87</a:t>
            </a:r>
            <a:r>
              <a:rPr lang="ru-RU" sz="900" dirty="0">
                <a:solidFill>
                  <a:prstClr val="black"/>
                </a:solidFill>
              </a:rPr>
              <a:t>% домохозяйств совмещают покупки Детского Питания с покупками для всей семьи в одном магазине </a:t>
            </a:r>
            <a:endParaRPr lang="ru-RU" sz="900" dirty="0"/>
          </a:p>
        </p:txBody>
      </p:sp>
      <p:pic>
        <p:nvPicPr>
          <p:cNvPr id="24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11" t="5474"/>
          <a:stretch/>
        </p:blipFill>
        <p:spPr bwMode="auto">
          <a:xfrm>
            <a:off x="7271868" y="5049179"/>
            <a:ext cx="1672760" cy="7960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69956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328607" y="1916764"/>
            <a:ext cx="2518886" cy="4642903"/>
          </a:xfrm>
          <a:prstGeom prst="roundRect">
            <a:avLst>
              <a:gd name="adj" fmla="val 5735"/>
            </a:avLst>
          </a:prstGeom>
          <a:noFill/>
          <a:ln w="28575" cap="flat" cmpd="sng" algn="ctr">
            <a:solidFill>
              <a:srgbClr val="0070C0"/>
            </a:solidFill>
            <a:prstDash val="solid"/>
          </a:ln>
          <a:effectLst/>
        </p:spPr>
        <p:txBody>
          <a:bodyPr lIns="84016" tIns="42009" rIns="84016" bIns="42009" rtlCol="0" anchor="ctr"/>
          <a:lstStyle/>
          <a:p>
            <a:pPr algn="ctr" defTabSz="420082">
              <a:defRPr/>
            </a:pPr>
            <a:endParaRPr lang="ru-RU" sz="1658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 rot="5400000">
            <a:off x="1444651" y="778900"/>
            <a:ext cx="332534" cy="2346735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vert="vert270" lIns="84016" tIns="42009" rIns="84016" bIns="42009" rtlCol="0" anchor="ctr"/>
          <a:lstStyle/>
          <a:p>
            <a:pPr algn="ctr" defTabSz="420082">
              <a:defRPr/>
            </a:pPr>
            <a:r>
              <a:rPr lang="ru-RU" sz="1474" b="1" kern="0" dirty="0">
                <a:solidFill>
                  <a:prstClr val="white"/>
                </a:solidFill>
                <a:latin typeface="Calibri"/>
              </a:rPr>
              <a:t>Гуала-пак</a:t>
            </a: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006257" y="1916764"/>
            <a:ext cx="2593340" cy="4642903"/>
          </a:xfrm>
          <a:prstGeom prst="roundRect">
            <a:avLst>
              <a:gd name="adj" fmla="val 5735"/>
            </a:avLst>
          </a:prstGeom>
          <a:noFill/>
          <a:ln w="28575" cap="flat" cmpd="sng" algn="ctr">
            <a:solidFill>
              <a:srgbClr val="0070C0"/>
            </a:solidFill>
            <a:prstDash val="solid"/>
          </a:ln>
          <a:effectLst/>
        </p:spPr>
        <p:txBody>
          <a:bodyPr lIns="84016" tIns="42009" rIns="84016" bIns="42009" rtlCol="0" anchor="ctr"/>
          <a:lstStyle/>
          <a:p>
            <a:pPr algn="ctr" defTabSz="420082">
              <a:defRPr/>
            </a:pPr>
            <a:endParaRPr lang="ru-RU" sz="1658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 rot="5400000">
            <a:off x="4156958" y="744216"/>
            <a:ext cx="332534" cy="2416100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vert="vert270" lIns="84016" tIns="42009" rIns="84016" bIns="42009" rtlCol="0" anchor="ctr"/>
          <a:lstStyle/>
          <a:p>
            <a:pPr algn="ctr" defTabSz="420082">
              <a:defRPr/>
            </a:pPr>
            <a:r>
              <a:rPr lang="ru-RU" sz="1474" b="1" kern="0" dirty="0">
                <a:solidFill>
                  <a:prstClr val="white"/>
                </a:solidFill>
                <a:latin typeface="Calibri"/>
              </a:rPr>
              <a:t>Фруктовое пюре 100гр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65890" y="1916764"/>
            <a:ext cx="2852070" cy="4642903"/>
          </a:xfrm>
          <a:prstGeom prst="roundRect">
            <a:avLst>
              <a:gd name="adj" fmla="val 5735"/>
            </a:avLst>
          </a:prstGeom>
          <a:noFill/>
          <a:ln w="28575" cap="flat" cmpd="sng" algn="ctr">
            <a:solidFill>
              <a:srgbClr val="0070C0"/>
            </a:solidFill>
            <a:prstDash val="solid"/>
          </a:ln>
          <a:effectLst/>
        </p:spPr>
        <p:txBody>
          <a:bodyPr lIns="84016" tIns="42009" rIns="84016" bIns="42009" rtlCol="0" anchor="ctr"/>
          <a:lstStyle/>
          <a:p>
            <a:pPr algn="ctr" defTabSz="420082">
              <a:defRPr/>
            </a:pPr>
            <a:endParaRPr lang="ru-RU" sz="1658" kern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 rot="5400000">
            <a:off x="7027391" y="623719"/>
            <a:ext cx="332534" cy="2657147"/>
          </a:xfrm>
          <a:prstGeom prst="roundRect">
            <a:avLst/>
          </a:prstGeom>
          <a:solidFill>
            <a:srgbClr val="0070C0"/>
          </a:solidFill>
          <a:ln w="25400" cap="flat" cmpd="sng" algn="ctr">
            <a:noFill/>
            <a:prstDash val="solid"/>
          </a:ln>
          <a:effectLst/>
        </p:spPr>
        <p:txBody>
          <a:bodyPr vert="vert270" lIns="84016" tIns="42009" rIns="84016" bIns="42009" rtlCol="0" anchor="ctr"/>
          <a:lstStyle/>
          <a:p>
            <a:pPr algn="ctr" defTabSz="420082">
              <a:defRPr/>
            </a:pPr>
            <a:r>
              <a:rPr lang="ru-RU" sz="1474" b="1" kern="0" dirty="0">
                <a:solidFill>
                  <a:prstClr val="white"/>
                </a:solidFill>
                <a:latin typeface="Calibri"/>
              </a:rPr>
              <a:t>Овощное пюре 80гр</a:t>
            </a:r>
          </a:p>
        </p:txBody>
      </p:sp>
      <p:grpSp>
        <p:nvGrpSpPr>
          <p:cNvPr id="11" name="Группа 10"/>
          <p:cNvGrpSpPr/>
          <p:nvPr/>
        </p:nvGrpSpPr>
        <p:grpSpPr>
          <a:xfrm>
            <a:off x="493189" y="2253863"/>
            <a:ext cx="2203815" cy="1139766"/>
            <a:chOff x="387167" y="1614997"/>
            <a:chExt cx="2436297" cy="1260000"/>
          </a:xfrm>
        </p:grpSpPr>
        <p:pic>
          <p:nvPicPr>
            <p:cNvPr id="12" name="Picture 4" descr="C:\Users\AEmelina\Desktop\презы новинки\ГУАЛАПАК\ПАУЧИ 2014\Витаминный салатик.png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167" y="1614997"/>
              <a:ext cx="909376" cy="12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Группа 12"/>
            <p:cNvGrpSpPr/>
            <p:nvPr/>
          </p:nvGrpSpPr>
          <p:grpSpPr>
            <a:xfrm>
              <a:off x="1290965" y="1655942"/>
              <a:ext cx="1532499" cy="1199776"/>
              <a:chOff x="6550925" y="1270129"/>
              <a:chExt cx="2336094" cy="1828901"/>
            </a:xfrm>
          </p:grpSpPr>
          <p:grpSp>
            <p:nvGrpSpPr>
              <p:cNvPr id="14" name="Группа 13"/>
              <p:cNvGrpSpPr/>
              <p:nvPr/>
            </p:nvGrpSpPr>
            <p:grpSpPr>
              <a:xfrm>
                <a:off x="6550925" y="1272437"/>
                <a:ext cx="2202892" cy="1826593"/>
                <a:chOff x="3355707" y="2089543"/>
                <a:chExt cx="6701285" cy="5556564"/>
              </a:xfrm>
            </p:grpSpPr>
            <p:pic>
              <p:nvPicPr>
                <p:cNvPr id="17" name="Picture 2" descr="P:\Disigner\ФРУТОНЯНЯ\пюре фруктовое 90гр (пауч)\яблоко смородина\3D\salatik so smorodinoy_2014.png"/>
                <p:cNvPicPr>
                  <a:picLocks noChangeAspect="1" noChangeArrowheads="1"/>
                </p:cNvPicPr>
                <p:nvPr/>
              </p:nvPicPr>
              <p:blipFill rotWithShape="1"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/>
              </p:blipFill>
              <p:spPr bwMode="auto">
                <a:xfrm>
                  <a:off x="3355707" y="2165344"/>
                  <a:ext cx="2989820" cy="5472941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8" name="Picture 2"/>
                <p:cNvPicPr>
                  <a:picLocks noChangeAspect="1" noChangeArrowheads="1"/>
                </p:cNvPicPr>
                <p:nvPr/>
              </p:nvPicPr>
              <p:blipFill rotWithShape="1"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488" t="3266" r="12488" b="2196"/>
                <a:stretch/>
              </p:blipFill>
              <p:spPr bwMode="auto">
                <a:xfrm>
                  <a:off x="6873303" y="2089543"/>
                  <a:ext cx="3183689" cy="5556564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  <p:pic>
            <p:nvPicPr>
              <p:cNvPr id="15" name="Picture 6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54405">
                <a:off x="7158866" y="1270129"/>
                <a:ext cx="560447" cy="554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16" name="Picture 6"/>
              <p:cNvPicPr>
                <a:picLocks noChangeAspect="1" noChangeArrowheads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rot="354405">
                <a:off x="8326572" y="1270129"/>
                <a:ext cx="560447" cy="55432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</p:grpSp>
      <p:pic>
        <p:nvPicPr>
          <p:cNvPr id="34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5236" y="2292271"/>
            <a:ext cx="1133028" cy="1064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кругленный прямоугольник 18"/>
          <p:cNvSpPr/>
          <p:nvPr/>
        </p:nvSpPr>
        <p:spPr>
          <a:xfrm>
            <a:off x="403155" y="3467431"/>
            <a:ext cx="2378010" cy="2984723"/>
          </a:xfrm>
          <a:prstGeom prst="roundRect">
            <a:avLst>
              <a:gd name="adj" fmla="val 6114"/>
            </a:avLst>
          </a:prstGeom>
          <a:solidFill>
            <a:srgbClr val="5ECCF3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4016" tIns="42009" rIns="84016" bIns="42009" rtlCol="0" anchor="ctr"/>
          <a:lstStyle/>
          <a:p>
            <a:pPr marL="163365" indent="-163365" defTabSz="420082">
              <a:lnSpc>
                <a:spcPts val="1658"/>
              </a:lnSpc>
              <a:spcBef>
                <a:spcPts val="553"/>
              </a:spcBef>
              <a:spcAft>
                <a:spcPts val="553"/>
              </a:spcAft>
              <a:buFont typeface="Arial" panose="020B0604020202020204" pitchFamily="34" charset="0"/>
              <a:buChar char="•"/>
              <a:defRPr/>
            </a:pP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Витаминный салатик ФрутоНяня – </a:t>
            </a:r>
            <a:r>
              <a:rPr lang="en-US" sz="1474" kern="0" dirty="0">
                <a:solidFill>
                  <a:prstClr val="black"/>
                </a:solidFill>
                <a:latin typeface="Calibri"/>
              </a:rPr>
              <a:t>SKU </a:t>
            </a: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№3 в портфеле ФрутоНяня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(7,4% доля рынка по продажам</a:t>
            </a:r>
            <a:r>
              <a:rPr lang="en-US" sz="1474" kern="0" dirty="0">
                <a:solidFill>
                  <a:prstClr val="black"/>
                </a:solidFill>
                <a:latin typeface="Calibri"/>
              </a:rPr>
              <a:t>) 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, демонстрирует </a:t>
            </a: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самый высокий </a:t>
            </a:r>
            <a:r>
              <a:rPr lang="en-US" sz="1474" b="1" kern="0" dirty="0">
                <a:solidFill>
                  <a:prstClr val="black"/>
                </a:solidFill>
                <a:latin typeface="Calibri"/>
              </a:rPr>
              <a:t>offtake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 в категории</a:t>
            </a:r>
            <a:r>
              <a:rPr lang="en-US" sz="1474" kern="0" dirty="0">
                <a:solidFill>
                  <a:prstClr val="black"/>
                </a:solidFill>
                <a:latin typeface="Calibri"/>
              </a:rPr>
              <a:t>*</a:t>
            </a:r>
            <a:endParaRPr lang="ru-RU" sz="1474" kern="0" dirty="0">
              <a:solidFill>
                <a:prstClr val="black"/>
              </a:solidFill>
              <a:latin typeface="Calibri"/>
            </a:endParaRPr>
          </a:p>
          <a:p>
            <a:pPr marL="163365" indent="-163365" defTabSz="420082">
              <a:lnSpc>
                <a:spcPts val="1658"/>
              </a:lnSpc>
              <a:spcBef>
                <a:spcPts val="553"/>
              </a:spcBef>
              <a:spcAft>
                <a:spcPts val="553"/>
              </a:spcAft>
              <a:buFont typeface="Arial" panose="020B0604020202020204" pitchFamily="34" charset="0"/>
              <a:buChar char="•"/>
              <a:defRPr/>
            </a:pPr>
            <a:r>
              <a:rPr lang="ru-RU" sz="1474" kern="0" dirty="0">
                <a:solidFill>
                  <a:prstClr val="black"/>
                </a:solidFill>
                <a:latin typeface="Calibri"/>
              </a:rPr>
              <a:t>ФрутоНяня развивает категорию фруктовых салатиков </a:t>
            </a:r>
            <a:r>
              <a:rPr lang="en-US" sz="1474" kern="0" dirty="0">
                <a:solidFill>
                  <a:prstClr val="black"/>
                </a:solidFill>
                <a:latin typeface="Calibri"/>
              </a:rPr>
              <a:t> +</a:t>
            </a: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2 новых </a:t>
            </a:r>
            <a:r>
              <a:rPr lang="en-US" sz="1474" b="1" kern="0" dirty="0">
                <a:solidFill>
                  <a:prstClr val="black"/>
                </a:solidFill>
                <a:latin typeface="Calibri"/>
              </a:rPr>
              <a:t>SKU </a:t>
            </a:r>
            <a:endParaRPr lang="ru-RU" sz="1474" b="1" kern="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04822" y="6638743"/>
            <a:ext cx="3405947" cy="239952"/>
          </a:xfrm>
          <a:prstGeom prst="rect">
            <a:avLst/>
          </a:prstGeom>
          <a:noFill/>
        </p:spPr>
        <p:txBody>
          <a:bodyPr wrap="square" lIns="83268" tIns="41631" rIns="83268" bIns="41631" rtlCol="0">
            <a:spAutoFit/>
          </a:bodyPr>
          <a:lstStyle/>
          <a:p>
            <a:pPr defTabSz="892280">
              <a:defRPr/>
            </a:pPr>
            <a:r>
              <a:rPr lang="en-US" sz="1013" kern="0" dirty="0">
                <a:solidFill>
                  <a:prstClr val="black"/>
                </a:solidFill>
              </a:rPr>
              <a:t>* </a:t>
            </a:r>
            <a:r>
              <a:rPr lang="ru-RU" sz="1013" kern="0" dirty="0">
                <a:solidFill>
                  <a:prstClr val="black"/>
                </a:solidFill>
              </a:rPr>
              <a:t>По данным © ООО «ЭЙ СИ НИЛЬСЕН» </a:t>
            </a:r>
            <a:r>
              <a:rPr lang="en-US" sz="1013" kern="0" dirty="0" smtClean="0">
                <a:solidFill>
                  <a:prstClr val="black"/>
                </a:solidFill>
              </a:rPr>
              <a:t>Apr’</a:t>
            </a:r>
            <a:r>
              <a:rPr lang="ru-RU" sz="1013" kern="0" dirty="0">
                <a:solidFill>
                  <a:prstClr val="black"/>
                </a:solidFill>
              </a:rPr>
              <a:t>1</a:t>
            </a:r>
            <a:r>
              <a:rPr lang="en-US" sz="1013" kern="0" dirty="0">
                <a:solidFill>
                  <a:prstClr val="black"/>
                </a:solidFill>
              </a:rPr>
              <a:t>6</a:t>
            </a:r>
            <a:endParaRPr lang="ru-RU" sz="1013" kern="0" dirty="0">
              <a:solidFill>
                <a:prstClr val="black"/>
              </a:solidFill>
            </a:endParaRPr>
          </a:p>
        </p:txBody>
      </p:sp>
      <p:pic>
        <p:nvPicPr>
          <p:cNvPr id="22" name="Picture 13" descr="C:\Users\vtarasova\Desktop\FRUTO\ОВОЩНЫЕ ПЮРЕ\IMAGE\sm_f_OVOCNOI MIKS 80g PANT text CS3.png"/>
          <p:cNvPicPr>
            <a:picLocks noChangeAspect="1" noChangeArrowheads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640841" y="2329477"/>
            <a:ext cx="1027503" cy="88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3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7447335" y="2416392"/>
            <a:ext cx="869081" cy="8489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6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354405">
            <a:off x="6429505" y="2297492"/>
            <a:ext cx="422670" cy="418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Скругленный прямоугольник 24"/>
          <p:cNvSpPr/>
          <p:nvPr/>
        </p:nvSpPr>
        <p:spPr>
          <a:xfrm>
            <a:off x="5832218" y="3467431"/>
            <a:ext cx="2690010" cy="2984723"/>
          </a:xfrm>
          <a:prstGeom prst="roundRect">
            <a:avLst>
              <a:gd name="adj" fmla="val 5021"/>
            </a:avLst>
          </a:prstGeom>
          <a:solidFill>
            <a:srgbClr val="5ECCF3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4016" tIns="42009" rIns="84016" bIns="42009" rtlCol="0" anchor="ctr"/>
          <a:lstStyle/>
          <a:p>
            <a:pPr marL="163365" indent="-163365" defTabSz="893259">
              <a:lnSpc>
                <a:spcPts val="1658"/>
              </a:lnSpc>
              <a:spcBef>
                <a:spcPts val="553"/>
              </a:spcBef>
              <a:spcAft>
                <a:spcPts val="553"/>
              </a:spcAft>
              <a:buFont typeface="Arial" panose="020B0604020202020204" pitchFamily="34" charset="0"/>
              <a:buChar char="•"/>
              <a:defRPr/>
            </a:pP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Овощной салатик ФрутоНяня – самый популярный салатик 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в сегменте овощные салатики (67% от продаж сегмента, 5,0% доля рынка овощей по продажам) и </a:t>
            </a:r>
            <a:r>
              <a:rPr lang="en-US" sz="1474" kern="0" dirty="0">
                <a:solidFill>
                  <a:prstClr val="black"/>
                </a:solidFill>
                <a:latin typeface="Calibri"/>
              </a:rPr>
              <a:t>SKU </a:t>
            </a: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№2 в портфеле ФрутоНяня</a:t>
            </a:r>
          </a:p>
          <a:p>
            <a:pPr marL="163365" indent="-163365" defTabSz="893259">
              <a:lnSpc>
                <a:spcPts val="1658"/>
              </a:lnSpc>
              <a:spcBef>
                <a:spcPts val="553"/>
              </a:spcBef>
              <a:spcAft>
                <a:spcPts val="553"/>
              </a:spcAft>
              <a:buFont typeface="Arial" panose="020B0604020202020204" pitchFamily="34" charset="0"/>
              <a:buChar char="•"/>
              <a:defRPr/>
            </a:pPr>
            <a:r>
              <a:rPr lang="ru-RU" sz="1474" kern="0" dirty="0">
                <a:solidFill>
                  <a:prstClr val="black"/>
                </a:solidFill>
                <a:latin typeface="Calibri"/>
              </a:rPr>
              <a:t>ФрутоНяня развивает сегмент салатиков – </a:t>
            </a: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новинка «пюре из сладких овощей» 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демонстрирует рост продаж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3121648" y="3467431"/>
            <a:ext cx="2378010" cy="2984723"/>
          </a:xfrm>
          <a:prstGeom prst="roundRect">
            <a:avLst>
              <a:gd name="adj" fmla="val 6114"/>
            </a:avLst>
          </a:prstGeom>
          <a:solidFill>
            <a:srgbClr val="5ECCF3">
              <a:lumMod val="60000"/>
              <a:lumOff val="40000"/>
            </a:srgbClr>
          </a:solidFill>
          <a:ln w="25400" cap="flat" cmpd="sng" algn="ctr">
            <a:noFill/>
            <a:prstDash val="solid"/>
          </a:ln>
          <a:effectLst/>
        </p:spPr>
        <p:txBody>
          <a:bodyPr lIns="84016" tIns="42009" rIns="84016" bIns="42009" rtlCol="0" anchor="ctr"/>
          <a:lstStyle/>
          <a:p>
            <a:pPr marL="163365" indent="-163365" defTabSz="420082">
              <a:lnSpc>
                <a:spcPts val="1658"/>
              </a:lnSpc>
              <a:spcBef>
                <a:spcPts val="553"/>
              </a:spcBef>
              <a:spcAft>
                <a:spcPts val="553"/>
              </a:spcAft>
              <a:buFont typeface="Arial" panose="020B0604020202020204" pitchFamily="34" charset="0"/>
              <a:buChar char="•"/>
              <a:defRPr/>
            </a:pP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Фруктовый салатик ФрутоНяня – самый популярный 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в сегменте салатиков 100гр (</a:t>
            </a: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№2 в портфеле ФрутоНяня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, </a:t>
            </a:r>
            <a:r>
              <a:rPr lang="ru-RU" sz="1474" b="1" kern="0" dirty="0">
                <a:solidFill>
                  <a:prstClr val="black"/>
                </a:solidFill>
                <a:latin typeface="Calibri"/>
              </a:rPr>
              <a:t>№5 в категории </a:t>
            </a:r>
            <a:r>
              <a:rPr lang="ru-RU" sz="1474" kern="0" dirty="0">
                <a:solidFill>
                  <a:prstClr val="black"/>
                </a:solidFill>
                <a:latin typeface="Calibri"/>
              </a:rPr>
              <a:t>фруктовых пюре 100гр (4,5% доля рынка по продажам)</a:t>
            </a:r>
          </a:p>
          <a:p>
            <a:pPr marL="163365" indent="-163365" defTabSz="420082">
              <a:lnSpc>
                <a:spcPts val="1658"/>
              </a:lnSpc>
              <a:spcBef>
                <a:spcPts val="553"/>
              </a:spcBef>
              <a:spcAft>
                <a:spcPts val="553"/>
              </a:spcAft>
              <a:buFont typeface="Arial" panose="020B0604020202020204" pitchFamily="34" charset="0"/>
              <a:buChar char="•"/>
              <a:defRPr/>
            </a:pPr>
            <a:endParaRPr lang="ru-RU" sz="1474" kern="0" dirty="0">
              <a:solidFill>
                <a:prstClr val="black"/>
              </a:solidFill>
              <a:latin typeface="Calibri"/>
            </a:endParaRPr>
          </a:p>
          <a:p>
            <a:pPr marL="163365" indent="-163365" defTabSz="420082">
              <a:lnSpc>
                <a:spcPts val="1658"/>
              </a:lnSpc>
              <a:spcBef>
                <a:spcPts val="553"/>
              </a:spcBef>
              <a:spcAft>
                <a:spcPts val="553"/>
              </a:spcAft>
              <a:buFont typeface="Arial" panose="020B0604020202020204" pitchFamily="34" charset="0"/>
              <a:buChar char="•"/>
              <a:defRPr/>
            </a:pPr>
            <a:endParaRPr lang="ru-RU" sz="1474" kern="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2957395" y="2442802"/>
            <a:ext cx="2692463" cy="926153"/>
            <a:chOff x="3008846" y="1646004"/>
            <a:chExt cx="3746655" cy="1288773"/>
          </a:xfrm>
        </p:grpSpPr>
        <p:pic>
          <p:nvPicPr>
            <p:cNvPr id="28" name="Рисунок 27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08846" y="1697638"/>
              <a:ext cx="1183905" cy="1220902"/>
            </a:xfrm>
            <a:prstGeom prst="rect">
              <a:avLst/>
            </a:prstGeom>
          </p:spPr>
        </p:pic>
        <p:pic>
          <p:nvPicPr>
            <p:cNvPr id="29" name="Рисунок 28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905032" y="1646004"/>
              <a:ext cx="1107080" cy="1284553"/>
            </a:xfrm>
            <a:prstGeom prst="rect">
              <a:avLst/>
            </a:prstGeom>
          </p:spPr>
        </p:pic>
        <p:pic>
          <p:nvPicPr>
            <p:cNvPr id="30" name="Picture 4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86691" y="1646004"/>
              <a:ext cx="1258277" cy="128877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31" name="Picture 6" descr="P:\Disigner\ФРУТОНЯНЯ\пюре фруктовое 100гр\яблоко смородина\2014\3D\pure_yabloko_chernoy_krasnoy_smorodini_2014.png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591952" y="1805272"/>
              <a:ext cx="1163549" cy="112950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TextBox 31"/>
          <p:cNvSpPr txBox="1"/>
          <p:nvPr/>
        </p:nvSpPr>
        <p:spPr>
          <a:xfrm>
            <a:off x="586201" y="548175"/>
            <a:ext cx="7433452" cy="425060"/>
          </a:xfrm>
          <a:prstGeom prst="rect">
            <a:avLst/>
          </a:prstGeom>
          <a:noFill/>
        </p:spPr>
        <p:txBody>
          <a:bodyPr wrap="square" lIns="84016" tIns="42009" rIns="84016" bIns="42009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11" dirty="0">
                <a:solidFill>
                  <a:srgbClr val="0070C0"/>
                </a:solidFill>
              </a:rPr>
              <a:t>«Салатики» – кросс-</a:t>
            </a:r>
            <a:r>
              <a:rPr lang="ru-RU" sz="2211" dirty="0" err="1">
                <a:solidFill>
                  <a:srgbClr val="0070C0"/>
                </a:solidFill>
              </a:rPr>
              <a:t>категорийный</a:t>
            </a:r>
            <a:r>
              <a:rPr lang="ru-RU" sz="2211" dirty="0">
                <a:solidFill>
                  <a:srgbClr val="0070C0"/>
                </a:solidFill>
              </a:rPr>
              <a:t> тренд на рынке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09097" y="1079051"/>
            <a:ext cx="7514471" cy="651789"/>
          </a:xfrm>
          <a:prstGeom prst="rect">
            <a:avLst/>
          </a:prstGeom>
          <a:noFill/>
        </p:spPr>
        <p:txBody>
          <a:bodyPr wrap="square" lIns="84016" tIns="42009" rIns="84016" bIns="42009" rtlCol="0">
            <a:spAutoFit/>
          </a:bodyPr>
          <a:lstStyle>
            <a:defPPr>
              <a:defRPr lang="ru-RU"/>
            </a:defPPr>
            <a:lvl1pPr>
              <a:defRPr sz="24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842" dirty="0">
                <a:solidFill>
                  <a:schemeClr val="tx1"/>
                </a:solidFill>
              </a:rPr>
              <a:t>ФрутоНяня, как лидер детского питания поддерживает и развивает потенциальные тренды на рынке</a:t>
            </a:r>
          </a:p>
        </p:txBody>
      </p:sp>
    </p:spTree>
    <p:extLst>
      <p:ext uri="{BB962C8B-B14F-4D97-AF65-F5344CB8AC3E}">
        <p14:creationId xmlns:p14="http://schemas.microsoft.com/office/powerpoint/2010/main" val="1049701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9552" y="548680"/>
            <a:ext cx="8229600" cy="576064"/>
          </a:xfrm>
        </p:spPr>
        <p:txBody>
          <a:bodyPr>
            <a:noAutofit/>
          </a:bodyPr>
          <a:lstStyle/>
          <a:p>
            <a:pPr algn="l"/>
            <a:r>
              <a:rPr lang="ru-RU" sz="2400" b="1" dirty="0" smtClean="0">
                <a:solidFill>
                  <a:srgbClr val="0070C0"/>
                </a:solidFill>
              </a:rPr>
              <a:t>Цена и логистическая </a:t>
            </a:r>
            <a:r>
              <a:rPr lang="ru-RU" sz="2400" b="1" dirty="0">
                <a:solidFill>
                  <a:srgbClr val="0070C0"/>
                </a:solidFill>
              </a:rPr>
              <a:t>информация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323530" y="1907407"/>
            <a:ext cx="3312369" cy="4056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r>
              <a:rPr lang="ru-RU" b="1" dirty="0" smtClean="0"/>
              <a:t>Цена</a:t>
            </a:r>
            <a:endParaRPr lang="ru-RU" b="1" dirty="0"/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23530" y="2449672"/>
            <a:ext cx="3312369" cy="4056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r>
              <a:rPr lang="ru-RU" b="1" dirty="0" smtClean="0"/>
              <a:t>Тип листинга</a:t>
            </a:r>
            <a:endParaRPr lang="ru-RU" b="1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23530" y="1365142"/>
            <a:ext cx="3312369" cy="4056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r>
              <a:rPr lang="ru-RU" b="1" dirty="0" smtClean="0"/>
              <a:t>Дата запуска</a:t>
            </a:r>
            <a:endParaRPr lang="ru-RU" b="1" dirty="0"/>
          </a:p>
        </p:txBody>
      </p:sp>
      <p:sp>
        <p:nvSpPr>
          <p:cNvPr id="6" name="TextBox 5"/>
          <p:cNvSpPr txBox="1"/>
          <p:nvPr/>
        </p:nvSpPr>
        <p:spPr>
          <a:xfrm>
            <a:off x="3707905" y="1340768"/>
            <a:ext cx="4680519" cy="369332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r>
              <a:rPr lang="ru-RU" b="1" dirty="0" smtClean="0"/>
              <a:t>Октябрь</a:t>
            </a:r>
            <a:r>
              <a:rPr lang="en-US" b="1" dirty="0" smtClean="0"/>
              <a:t>’16</a:t>
            </a:r>
            <a:endParaRPr lang="ru-RU" b="1" dirty="0"/>
          </a:p>
        </p:txBody>
      </p:sp>
      <p:sp>
        <p:nvSpPr>
          <p:cNvPr id="7" name="TextBox 6"/>
          <p:cNvSpPr txBox="1"/>
          <p:nvPr/>
        </p:nvSpPr>
        <p:spPr>
          <a:xfrm>
            <a:off x="3635899" y="1856541"/>
            <a:ext cx="4680519" cy="369332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r>
              <a:rPr lang="en-US" b="1" dirty="0" smtClean="0"/>
              <a:t>= </a:t>
            </a:r>
            <a:r>
              <a:rPr lang="ru-RU" b="1" dirty="0" smtClean="0"/>
              <a:t>основной линейке                          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635896" y="2419227"/>
            <a:ext cx="4680519" cy="369332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r>
              <a:rPr lang="en-US" b="1" dirty="0" smtClean="0"/>
              <a:t>On-top</a:t>
            </a:r>
            <a:endParaRPr lang="ru-RU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4793718"/>
              </p:ext>
            </p:extLst>
          </p:nvPr>
        </p:nvGraphicFramePr>
        <p:xfrm>
          <a:off x="349654" y="3947027"/>
          <a:ext cx="8398810" cy="1570205"/>
        </p:xfrm>
        <a:graphic>
          <a:graphicData uri="http://schemas.openxmlformats.org/drawingml/2006/table">
            <a:tbl>
              <a:tblPr firstRow="1" firstCol="1" bandRow="1"/>
              <a:tblGrid>
                <a:gridCol w="1414034"/>
                <a:gridCol w="2677560"/>
                <a:gridCol w="732942"/>
                <a:gridCol w="1296144"/>
                <a:gridCol w="1198010"/>
                <a:gridCol w="1080120"/>
              </a:tblGrid>
              <a:tr h="643538">
                <a:tc gridSpan="2"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Наименование продукции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Вид</a:t>
                      </a:r>
                      <a:r>
                        <a:rPr lang="ru-RU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  </a:t>
                      </a:r>
                      <a:endParaRPr lang="ru-RU" sz="1200" b="1" dirty="0" smtClean="0">
                        <a:solidFill>
                          <a:srgbClr val="000000"/>
                        </a:solidFill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упаковки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Штрих-код</a:t>
                      </a:r>
                    </a:p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индивидуальной упаковки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Штрих-код групповой упаковки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Код </a:t>
                      </a:r>
                      <a:r>
                        <a:rPr lang="en-US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Navision</a:t>
                      </a:r>
                      <a:endParaRPr lang="ru-RU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</a:tr>
              <a:tr h="926667">
                <a:tc>
                  <a:txBody>
                    <a:bodyPr/>
                    <a:lstStyle/>
                    <a:p>
                      <a:pPr algn="ctr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endParaRPr lang="ru-RU" sz="1800" b="1" dirty="0">
                        <a:effectLst/>
                        <a:latin typeface="+mn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spcBef>
                          <a:spcPts val="500"/>
                        </a:spcBef>
                        <a:spcAft>
                          <a:spcPts val="500"/>
                        </a:spcAft>
                      </a:pPr>
                      <a:r>
                        <a:rPr lang="ru-RU" sz="1200" b="1" dirty="0" err="1" smtClean="0">
                          <a:effectLst/>
                          <a:latin typeface="+mn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ФрутоНяня</a:t>
                      </a:r>
                      <a:r>
                        <a:rPr lang="ru-RU" sz="1200" b="1" dirty="0" smtClean="0">
                          <a:effectLst/>
                          <a:latin typeface="+mn-lt"/>
                          <a:ea typeface="Cambria" panose="02040503050406030204" pitchFamily="18" charset="0"/>
                          <a:cs typeface="Times New Roman" panose="02020603050405020304" pitchFamily="18" charset="0"/>
                        </a:rPr>
                        <a:t> 80г. Пюре из капусты брокколи, кабачков и цветной капусты "мой первый салатик" для питания детей раннего возраста</a:t>
                      </a:r>
                      <a:endParaRPr lang="ru-RU" sz="1800" b="1" dirty="0">
                        <a:effectLst/>
                        <a:latin typeface="+mn-lt"/>
                        <a:ea typeface="Cambria" panose="020405030504060302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350" marR="635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0,08 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Calibri"/>
                          <a:cs typeface="Times New Roman"/>
                        </a:rPr>
                        <a:t>glass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00338007847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4600338007844</a:t>
                      </a:r>
                      <a:endParaRPr lang="ru-RU" sz="1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P078034 </a:t>
                      </a:r>
                      <a:endParaRPr lang="ru-RU" sz="1200" b="1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8792" marR="8792" marT="8792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CE6F2"/>
                    </a:solidFill>
                  </a:tcPr>
                </a:tc>
              </a:tr>
            </a:tbl>
          </a:graphicData>
        </a:graphic>
      </p:graphicFrame>
      <p:pic>
        <p:nvPicPr>
          <p:cNvPr id="13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4509120"/>
            <a:ext cx="1080120" cy="10150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Скругленный прямоугольник 14"/>
          <p:cNvSpPr/>
          <p:nvPr/>
        </p:nvSpPr>
        <p:spPr>
          <a:xfrm>
            <a:off x="323530" y="3035017"/>
            <a:ext cx="3312369" cy="405632"/>
          </a:xfrm>
          <a:prstGeom prst="round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r>
              <a:rPr lang="ru-RU" b="1" dirty="0" smtClean="0"/>
              <a:t>Кол-во в упаковке</a:t>
            </a:r>
            <a:endParaRPr lang="ru-RU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3635896" y="3010642"/>
            <a:ext cx="4680519" cy="369332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r>
              <a:rPr lang="ru-RU" b="1" dirty="0" smtClean="0"/>
              <a:t>12 штук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225008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rgbClr val="0070C0"/>
                </a:solidFill>
              </a:rPr>
              <a:t>Правила выкладки на полке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1170"/>
          <a:stretch/>
        </p:blipFill>
        <p:spPr bwMode="auto">
          <a:xfrm>
            <a:off x="1560440" y="1749459"/>
            <a:ext cx="4035084" cy="1073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3434223"/>
            <a:ext cx="2570398" cy="2415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704"/>
          <a:stretch/>
        </p:blipFill>
        <p:spPr bwMode="auto">
          <a:xfrm>
            <a:off x="5617620" y="1749459"/>
            <a:ext cx="1834700" cy="1073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2173912"/>
            <a:ext cx="720080" cy="67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698452"/>
            <a:ext cx="720080" cy="67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asuslova\Desktop\Аня\портал\ФН\овощные пюре 80 г\3D\кабачок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886" t="31377" r="32474" b="16105"/>
          <a:stretch/>
        </p:blipFill>
        <p:spPr bwMode="auto">
          <a:xfrm>
            <a:off x="2313941" y="3645024"/>
            <a:ext cx="1817826" cy="19541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P:\Disigner\ФРУТОНЯНЯ\пюре овощи 80 гр\цветная капуста\2014\3d\цв кап.pn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871" t="37120" r="34695" b="18820"/>
          <a:stretch/>
        </p:blipFill>
        <p:spPr bwMode="auto">
          <a:xfrm>
            <a:off x="3966780" y="3861048"/>
            <a:ext cx="1593504" cy="16234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 descr="P:\Disigner\ФРУТОНЯНЯ\пюре овощи 80 гр\брокколи\2014\3d\брок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074" t="35063" r="32033" b="17606"/>
          <a:stretch/>
        </p:blipFill>
        <p:spPr bwMode="auto">
          <a:xfrm>
            <a:off x="5472503" y="3775823"/>
            <a:ext cx="1809990" cy="179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 descr="C:\Users\asuslova\Desktop\Аня\портал\ФН\овощные пюре 80 г\3D\овощной салатик_80 гр_2014.jpg"/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4421" y="3501008"/>
            <a:ext cx="2546091" cy="234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827584" y="5618608"/>
            <a:ext cx="7992888" cy="114648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8244408" y="6453336"/>
            <a:ext cx="864096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Freeform 29"/>
          <p:cNvSpPr>
            <a:spLocks/>
          </p:cNvSpPr>
          <p:nvPr/>
        </p:nvSpPr>
        <p:spPr bwMode="gray">
          <a:xfrm rot="21211154">
            <a:off x="317491" y="1479970"/>
            <a:ext cx="1432319" cy="1602936"/>
          </a:xfrm>
          <a:custGeom>
            <a:avLst/>
            <a:gdLst>
              <a:gd name="T0" fmla="*/ 2147483647 w 3884"/>
              <a:gd name="T1" fmla="*/ 2147483647 h 1600"/>
              <a:gd name="T2" fmla="*/ 2147483647 w 3884"/>
              <a:gd name="T3" fmla="*/ 2147483647 h 1600"/>
              <a:gd name="T4" fmla="*/ 2147483647 w 3884"/>
              <a:gd name="T5" fmla="*/ 2147483647 h 1600"/>
              <a:gd name="T6" fmla="*/ 2147483647 w 3884"/>
              <a:gd name="T7" fmla="*/ 2147483647 h 1600"/>
              <a:gd name="T8" fmla="*/ 2147483647 w 3884"/>
              <a:gd name="T9" fmla="*/ 2147483647 h 1600"/>
              <a:gd name="T10" fmla="*/ 2147483647 w 3884"/>
              <a:gd name="T11" fmla="*/ 2147483647 h 1600"/>
              <a:gd name="T12" fmla="*/ 0 w 3884"/>
              <a:gd name="T13" fmla="*/ 2147483647 h 1600"/>
              <a:gd name="T14" fmla="*/ 2147483647 w 3884"/>
              <a:gd name="T15" fmla="*/ 2147483647 h 1600"/>
              <a:gd name="T16" fmla="*/ 2147483647 w 3884"/>
              <a:gd name="T17" fmla="*/ 2147483647 h 1600"/>
              <a:gd name="T18" fmla="*/ 2147483647 w 3884"/>
              <a:gd name="T19" fmla="*/ 2147483647 h 1600"/>
              <a:gd name="T20" fmla="*/ 2147483647 w 3884"/>
              <a:gd name="T21" fmla="*/ 2147483647 h 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884"/>
              <a:gd name="T34" fmla="*/ 0 h 1600"/>
              <a:gd name="T35" fmla="*/ 3884 w 3884"/>
              <a:gd name="T36" fmla="*/ 1600 h 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884" h="1600">
                <a:moveTo>
                  <a:pt x="297" y="1346"/>
                </a:moveTo>
                <a:cubicBezTo>
                  <a:pt x="918" y="1523"/>
                  <a:pt x="1726" y="1533"/>
                  <a:pt x="2310" y="1448"/>
                </a:cubicBezTo>
                <a:cubicBezTo>
                  <a:pt x="3125" y="1334"/>
                  <a:pt x="3798" y="1192"/>
                  <a:pt x="3810" y="884"/>
                </a:cubicBezTo>
                <a:cubicBezTo>
                  <a:pt x="3822" y="576"/>
                  <a:pt x="3114" y="204"/>
                  <a:pt x="1945" y="137"/>
                </a:cubicBezTo>
                <a:cubicBezTo>
                  <a:pt x="645" y="63"/>
                  <a:pt x="74" y="564"/>
                  <a:pt x="74" y="724"/>
                </a:cubicBezTo>
                <a:cubicBezTo>
                  <a:pt x="74" y="884"/>
                  <a:pt x="394" y="1032"/>
                  <a:pt x="781" y="1072"/>
                </a:cubicBezTo>
                <a:cubicBezTo>
                  <a:pt x="280" y="1135"/>
                  <a:pt x="0" y="912"/>
                  <a:pt x="0" y="724"/>
                </a:cubicBezTo>
                <a:cubicBezTo>
                  <a:pt x="0" y="536"/>
                  <a:pt x="473" y="0"/>
                  <a:pt x="1951" y="68"/>
                </a:cubicBezTo>
                <a:cubicBezTo>
                  <a:pt x="2863" y="110"/>
                  <a:pt x="3884" y="433"/>
                  <a:pt x="3878" y="884"/>
                </a:cubicBezTo>
                <a:cubicBezTo>
                  <a:pt x="3872" y="1335"/>
                  <a:pt x="2873" y="1446"/>
                  <a:pt x="2276" y="1523"/>
                </a:cubicBezTo>
                <a:cubicBezTo>
                  <a:pt x="1679" y="1600"/>
                  <a:pt x="553" y="1580"/>
                  <a:pt x="297" y="1346"/>
                </a:cubicBezTo>
                <a:close/>
              </a:path>
            </a:pathLst>
          </a:custGeom>
          <a:solidFill>
            <a:srgbClr val="00B050"/>
          </a:solidFill>
          <a:ln w="0">
            <a:solidFill>
              <a:srgbClr val="00B050"/>
            </a:solidFill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03" tIns="91403" rIns="91403" bIns="91403" anchor="ctr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defTabSz="914036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91880" y="3284984"/>
            <a:ext cx="5328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Новинку ставим на полке в начале категории</a:t>
            </a:r>
            <a:endParaRPr lang="ru-RU" b="1" dirty="0"/>
          </a:p>
        </p:txBody>
      </p:sp>
      <p:sp>
        <p:nvSpPr>
          <p:cNvPr id="16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659716" y="6492902"/>
            <a:ext cx="2090837" cy="365125"/>
          </a:xfrm>
        </p:spPr>
        <p:txBody>
          <a:bodyPr/>
          <a:lstStyle/>
          <a:p>
            <a:r>
              <a:rPr lang="ru-RU" dirty="0">
                <a:solidFill>
                  <a:prstClr val="black">
                    <a:tint val="75000"/>
                  </a:prstClr>
                </a:solidFill>
              </a:rPr>
              <a:t>7</a:t>
            </a:r>
          </a:p>
        </p:txBody>
      </p:sp>
      <p:pic>
        <p:nvPicPr>
          <p:cNvPr id="18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2176268"/>
            <a:ext cx="720080" cy="67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" descr="C:\Users\mKadantseva\AppData\Local\Microsoft\Windows\Temporary Internet Files\Content.Outlook\VCUV0R1N\80_pure_perviy salatik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700808"/>
            <a:ext cx="720080" cy="6766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36883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.hSN0e.kiT99V1nNwjOg"/>
</p:tagLst>
</file>

<file path=ppt/theme/theme1.xml><?xml version="1.0" encoding="utf-8"?>
<a:theme xmlns:a="http://schemas.openxmlformats.org/drawingml/2006/main" name="35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Тема1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3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_Bain A4">
  <a:themeElements>
    <a:clrScheme name="Frutonyanya">
      <a:dk1>
        <a:sysClr val="windowText" lastClr="000000"/>
      </a:dk1>
      <a:lt1>
        <a:srgbClr val="FFFFFF"/>
      </a:lt1>
      <a:dk2>
        <a:srgbClr val="144678"/>
      </a:dk2>
      <a:lt2>
        <a:srgbClr val="FDEB0E"/>
      </a:lt2>
      <a:accent1>
        <a:srgbClr val="E5162E"/>
      </a:accent1>
      <a:accent2>
        <a:srgbClr val="BE47A1"/>
      </a:accent2>
      <a:accent3>
        <a:srgbClr val="F08509"/>
      </a:accent3>
      <a:accent4>
        <a:srgbClr val="82C317"/>
      </a:accent4>
      <a:accent5>
        <a:srgbClr val="F91E95"/>
      </a:accent5>
      <a:accent6>
        <a:srgbClr val="333333"/>
      </a:accent6>
      <a:hlink>
        <a:srgbClr val="000000"/>
      </a:hlink>
      <a:folHlink>
        <a:srgbClr val="CC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0">
          <a:solidFill>
            <a:schemeClr val="tx1"/>
          </a:solidFill>
        </a:ln>
      </a:spPr>
      <a:bodyPr lIns="0" tIns="0" rIns="0" bIns="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13.xml><?xml version="1.0" encoding="utf-8"?>
<a:theme xmlns:a="http://schemas.openxmlformats.org/drawingml/2006/main" name="4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5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1_Оформление по умолчанию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imes New Roman" pitchFamily="18" charset="0"/>
          </a:defRPr>
        </a:defPPr>
      </a:lstStyle>
    </a:lnDef>
  </a:objectDefaults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8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1_класс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Bain A4">
  <a:themeElements>
    <a:clrScheme name="Frutonyanya">
      <a:dk1>
        <a:sysClr val="windowText" lastClr="000000"/>
      </a:dk1>
      <a:lt1>
        <a:srgbClr val="FFFFFF"/>
      </a:lt1>
      <a:dk2>
        <a:srgbClr val="144678"/>
      </a:dk2>
      <a:lt2>
        <a:srgbClr val="FDEB0E"/>
      </a:lt2>
      <a:accent1>
        <a:srgbClr val="E5162E"/>
      </a:accent1>
      <a:accent2>
        <a:srgbClr val="BE47A1"/>
      </a:accent2>
      <a:accent3>
        <a:srgbClr val="F08509"/>
      </a:accent3>
      <a:accent4>
        <a:srgbClr val="82C317"/>
      </a:accent4>
      <a:accent5>
        <a:srgbClr val="F91E95"/>
      </a:accent5>
      <a:accent6>
        <a:srgbClr val="333333"/>
      </a:accent6>
      <a:hlink>
        <a:srgbClr val="000000"/>
      </a:hlink>
      <a:folHlink>
        <a:srgbClr val="CC00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0">
          <a:solidFill>
            <a:schemeClr val="tx1"/>
          </a:solidFill>
        </a:ln>
      </a:spPr>
      <a:bodyPr lIns="0" tIns="0" rIns="0" bIns="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2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Оформление по умолчанию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1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1 для презы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1_Тема Office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538</TotalTime>
  <Words>777</Words>
  <Application>Microsoft Office PowerPoint</Application>
  <PresentationFormat>Экран (4:3)</PresentationFormat>
  <Paragraphs>121</Paragraphs>
  <Slides>12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5</vt:i4>
      </vt:variant>
      <vt:variant>
        <vt:lpstr>Заголовки слайдов</vt:lpstr>
      </vt:variant>
      <vt:variant>
        <vt:i4>12</vt:i4>
      </vt:variant>
    </vt:vector>
  </HeadingPairs>
  <TitlesOfParts>
    <vt:vector size="27" baseType="lpstr">
      <vt:lpstr>35_Оформление по умолчанию</vt:lpstr>
      <vt:lpstr>8_Оформление по умолчанию</vt:lpstr>
      <vt:lpstr>Тема1_класс</vt:lpstr>
      <vt:lpstr>1_Оформление по умолчанию</vt:lpstr>
      <vt:lpstr>Bain A4</vt:lpstr>
      <vt:lpstr>2_Оформление по умолчанию</vt:lpstr>
      <vt:lpstr>9_Оформление по умолчанию</vt:lpstr>
      <vt:lpstr>Тема1 для презы</vt:lpstr>
      <vt:lpstr>1_Тема Office</vt:lpstr>
      <vt:lpstr>1_Тема1</vt:lpstr>
      <vt:lpstr>3_Оформление по умолчанию</vt:lpstr>
      <vt:lpstr>1_Bain A4</vt:lpstr>
      <vt:lpstr>4_Оформление по умолчанию</vt:lpstr>
      <vt:lpstr>10_Оформление по умолчанию</vt:lpstr>
      <vt:lpstr>5_Оформление по умолчанию</vt:lpstr>
      <vt:lpstr>Презентация PowerPoint</vt:lpstr>
      <vt:lpstr>Рынок овощных пюре высоко концентрирован </vt:lpstr>
      <vt:lpstr>Презентация PowerPoint</vt:lpstr>
      <vt:lpstr>Почему мы расширяем категорию «салатиков»?</vt:lpstr>
      <vt:lpstr>ФрутоНяня представляет новый «салатик»: привлекательно снаружи, полезно внутри!</vt:lpstr>
      <vt:lpstr>Линейка «салатиков» ФрутоНяня – уникальное предложение на рынке</vt:lpstr>
      <vt:lpstr>Презентация PowerPoint</vt:lpstr>
      <vt:lpstr>Цена и логистическая информация</vt:lpstr>
      <vt:lpstr>Правила выкладки на полке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Suslova Anna</dc:creator>
  <cp:lastModifiedBy>Suslova Anna</cp:lastModifiedBy>
  <cp:revision>335</cp:revision>
  <cp:lastPrinted>2016-10-05T11:17:40Z</cp:lastPrinted>
  <dcterms:created xsi:type="dcterms:W3CDTF">2016-08-05T11:31:34Z</dcterms:created>
  <dcterms:modified xsi:type="dcterms:W3CDTF">2016-10-06T14:41:04Z</dcterms:modified>
</cp:coreProperties>
</file>